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66" r:id="rId4"/>
  </p:sldMasterIdLst>
  <p:notesMasterIdLst>
    <p:notesMasterId r:id="rId22"/>
  </p:notesMasterIdLst>
  <p:handoutMasterIdLst>
    <p:handoutMasterId r:id="rId23"/>
  </p:handoutMasterIdLst>
  <p:sldIdLst>
    <p:sldId id="2145709764" r:id="rId5"/>
    <p:sldId id="2145709770" r:id="rId6"/>
    <p:sldId id="2145709766" r:id="rId7"/>
    <p:sldId id="2145709772" r:id="rId8"/>
    <p:sldId id="2145709773" r:id="rId9"/>
    <p:sldId id="2145709775" r:id="rId10"/>
    <p:sldId id="2145709784" r:id="rId11"/>
    <p:sldId id="2145709777" r:id="rId12"/>
    <p:sldId id="2145709776" r:id="rId13"/>
    <p:sldId id="2145709778" r:id="rId14"/>
    <p:sldId id="2145709779" r:id="rId15"/>
    <p:sldId id="2145709765" r:id="rId16"/>
    <p:sldId id="2145709781" r:id="rId17"/>
    <p:sldId id="2145709780" r:id="rId18"/>
    <p:sldId id="2145709786" r:id="rId19"/>
    <p:sldId id="2145709782" r:id="rId20"/>
    <p:sldId id="2145709783" r:id="rId21"/>
  </p:sldIdLst>
  <p:sldSz cx="9906000" cy="6858000" type="A4"/>
  <p:notesSz cx="7099300" cy="10234613"/>
  <p:custDataLst>
    <p:tags r:id="rId24"/>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ttmann, Svenja" initials="DS" lastIdx="2" clrIdx="0">
    <p:extLst>
      <p:ext uri="{19B8F6BF-5375-455C-9EA6-DF929625EA0E}">
        <p15:presenceInfo xmlns:p15="http://schemas.microsoft.com/office/powerpoint/2012/main" userId="S::svenja.dittmann@rolandberger.com::63de7e4e-7b37-4818-9d70-95972958a1ab" providerId="AD"/>
      </p:ext>
    </p:extLst>
  </p:cmAuthor>
  <p:cmAuthor id="2" name="Kaznacheev, Peter" initials="KP" lastIdx="16" clrIdx="1">
    <p:extLst>
      <p:ext uri="{19B8F6BF-5375-455C-9EA6-DF929625EA0E}">
        <p15:presenceInfo xmlns:p15="http://schemas.microsoft.com/office/powerpoint/2012/main" userId="S::peter.kaznacheev@rolandberger.com::c7da08cc-05b8-4d9a-bbaf-d60b74b37893" providerId="AD"/>
      </p:ext>
    </p:extLst>
  </p:cmAuthor>
  <p:cmAuthor id="3" name="Aldescu, Paul" initials="AP" lastIdx="1" clrIdx="2">
    <p:extLst>
      <p:ext uri="{19B8F6BF-5375-455C-9EA6-DF929625EA0E}">
        <p15:presenceInfo xmlns:p15="http://schemas.microsoft.com/office/powerpoint/2012/main" userId="S::paul.aldescu@rolandberger.com::46a17e57-b46e-4a7c-9337-849714e918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B6D2"/>
    <a:srgbClr val="8C564B"/>
    <a:srgbClr val="1F77B4"/>
    <a:srgbClr val="156C9C"/>
    <a:srgbClr val="E7F5F9"/>
    <a:srgbClr val="C00000"/>
    <a:srgbClr val="002060"/>
    <a:srgbClr val="FF2525"/>
    <a:srgbClr val="52BB56"/>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autoAdjust="0"/>
    <p:restoredTop sz="95631" autoAdjust="0"/>
  </p:normalViewPr>
  <p:slideViewPr>
    <p:cSldViewPr snapToGrid="0">
      <p:cViewPr varScale="1">
        <p:scale>
          <a:sx n="80" d="100"/>
          <a:sy n="80" d="100"/>
        </p:scale>
        <p:origin x="1330" y="67"/>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698" cy="512388"/>
          </a:xfrm>
          <a:prstGeom prst="rect">
            <a:avLst/>
          </a:prstGeom>
        </p:spPr>
        <p:txBody>
          <a:bodyPr vert="horz" lIns="95114" tIns="47557" rIns="95114" bIns="47557" rtlCol="0"/>
          <a:lstStyle>
            <a:lvl1pPr algn="l">
              <a:defRPr sz="1200"/>
            </a:lvl1pPr>
          </a:lstStyle>
          <a:p>
            <a:endParaRPr lang="en-US"/>
          </a:p>
        </p:txBody>
      </p:sp>
      <p:sp>
        <p:nvSpPr>
          <p:cNvPr id="3" name="Date Placeholder 2"/>
          <p:cNvSpPr>
            <a:spLocks noGrp="1"/>
          </p:cNvSpPr>
          <p:nvPr>
            <p:ph type="dt" sz="quarter" idx="1"/>
          </p:nvPr>
        </p:nvSpPr>
        <p:spPr>
          <a:xfrm>
            <a:off x="4020932" y="1"/>
            <a:ext cx="3076698" cy="512388"/>
          </a:xfrm>
          <a:prstGeom prst="rect">
            <a:avLst/>
          </a:prstGeom>
        </p:spPr>
        <p:txBody>
          <a:bodyPr vert="horz" lIns="95114" tIns="47557" rIns="95114" bIns="47557" rtlCol="0"/>
          <a:lstStyle>
            <a:lvl1pPr algn="r">
              <a:defRPr sz="1200"/>
            </a:lvl1pPr>
          </a:lstStyle>
          <a:p>
            <a:fld id="{B1F6FCDC-B0B8-4243-8340-DCE9AB0F745C}" type="datetimeFigureOut">
              <a:rPr lang="en-US" smtClean="0"/>
              <a:t>11/16/2021</a:t>
            </a:fld>
            <a:endParaRPr lang="en-US"/>
          </a:p>
        </p:txBody>
      </p:sp>
      <p:sp>
        <p:nvSpPr>
          <p:cNvPr id="4" name="Footer Placeholder 3"/>
          <p:cNvSpPr>
            <a:spLocks noGrp="1"/>
          </p:cNvSpPr>
          <p:nvPr>
            <p:ph type="ftr" sz="quarter" idx="2"/>
          </p:nvPr>
        </p:nvSpPr>
        <p:spPr>
          <a:xfrm>
            <a:off x="2" y="9720586"/>
            <a:ext cx="3076698" cy="512388"/>
          </a:xfrm>
          <a:prstGeom prst="rect">
            <a:avLst/>
          </a:prstGeom>
        </p:spPr>
        <p:txBody>
          <a:bodyPr vert="horz" lIns="95114" tIns="47557" rIns="95114" bIns="47557" rtlCol="0" anchor="b"/>
          <a:lstStyle>
            <a:lvl1pPr algn="l">
              <a:defRPr sz="1200"/>
            </a:lvl1pPr>
          </a:lstStyle>
          <a:p>
            <a:endParaRPr lang="en-US"/>
          </a:p>
        </p:txBody>
      </p:sp>
      <p:sp>
        <p:nvSpPr>
          <p:cNvPr id="5" name="Slide Number Placeholder 4"/>
          <p:cNvSpPr>
            <a:spLocks noGrp="1"/>
          </p:cNvSpPr>
          <p:nvPr>
            <p:ph type="sldNum" sz="quarter" idx="3"/>
          </p:nvPr>
        </p:nvSpPr>
        <p:spPr>
          <a:xfrm>
            <a:off x="4020932" y="9720586"/>
            <a:ext cx="3076698" cy="512388"/>
          </a:xfrm>
          <a:prstGeom prst="rect">
            <a:avLst/>
          </a:prstGeom>
        </p:spPr>
        <p:txBody>
          <a:bodyPr vert="horz" lIns="95114" tIns="47557" rIns="95114" bIns="47557" rtlCol="0" anchor="b"/>
          <a:lstStyle>
            <a:lvl1pPr algn="r">
              <a:defRPr sz="1200"/>
            </a:lvl1pPr>
          </a:lstStyle>
          <a:p>
            <a:fld id="{BBC2DC86-18DF-44F7-B539-BDC8A3E3733B}" type="slidenum">
              <a:rPr lang="en-US" smtClean="0"/>
              <a:t>‹#›</a:t>
            </a:fld>
            <a:endParaRPr lang="en-US"/>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698" cy="512388"/>
          </a:xfrm>
          <a:prstGeom prst="rect">
            <a:avLst/>
          </a:prstGeom>
        </p:spPr>
        <p:txBody>
          <a:bodyPr vert="horz" lIns="95114" tIns="47557" rIns="95114" bIns="47557" rtlCol="0"/>
          <a:lstStyle>
            <a:lvl1pPr algn="l" eaLnBrk="1">
              <a:defRPr sz="1200"/>
            </a:lvl1pPr>
          </a:lstStyle>
          <a:p>
            <a:endParaRPr lang="en-US"/>
          </a:p>
        </p:txBody>
      </p:sp>
      <p:sp>
        <p:nvSpPr>
          <p:cNvPr id="3" name="Date Placeholder 2"/>
          <p:cNvSpPr>
            <a:spLocks noGrp="1"/>
          </p:cNvSpPr>
          <p:nvPr>
            <p:ph type="dt" idx="1"/>
          </p:nvPr>
        </p:nvSpPr>
        <p:spPr>
          <a:xfrm>
            <a:off x="4020932" y="1"/>
            <a:ext cx="3076698" cy="512388"/>
          </a:xfrm>
          <a:prstGeom prst="rect">
            <a:avLst/>
          </a:prstGeom>
        </p:spPr>
        <p:txBody>
          <a:bodyPr vert="horz" lIns="95114" tIns="47557" rIns="95114" bIns="47557" rtlCol="0"/>
          <a:lstStyle>
            <a:lvl1pPr algn="r">
              <a:defRPr sz="1200"/>
            </a:lvl1pPr>
          </a:lstStyle>
          <a:p>
            <a:fld id="{39E533E0-CB15-439B-A746-9715C03E7512}" type="datetimeFigureOut">
              <a:rPr lang="en-US" smtClean="0"/>
              <a:t>11/16/2021</a:t>
            </a:fld>
            <a:endParaRPr lang="en-US"/>
          </a:p>
        </p:txBody>
      </p:sp>
      <p:sp>
        <p:nvSpPr>
          <p:cNvPr id="4" name="Slide Image Placeholder 3"/>
          <p:cNvSpPr>
            <a:spLocks noGrp="1" noRot="1" noChangeAspect="1"/>
          </p:cNvSpPr>
          <p:nvPr>
            <p:ph type="sldImg" idx="2"/>
          </p:nvPr>
        </p:nvSpPr>
        <p:spPr>
          <a:xfrm>
            <a:off x="777875" y="766763"/>
            <a:ext cx="5543550" cy="3836987"/>
          </a:xfrm>
          <a:prstGeom prst="rect">
            <a:avLst/>
          </a:prstGeom>
          <a:noFill/>
          <a:ln w="12700">
            <a:solidFill>
              <a:prstClr val="black"/>
            </a:solidFill>
          </a:ln>
        </p:spPr>
        <p:txBody>
          <a:bodyPr vert="horz" lIns="95114" tIns="47557" rIns="95114" bIns="47557" rtlCol="0" anchor="ctr"/>
          <a:lstStyle/>
          <a:p>
            <a:endParaRPr lang="en-US"/>
          </a:p>
        </p:txBody>
      </p:sp>
      <p:sp>
        <p:nvSpPr>
          <p:cNvPr id="5" name="Notes Placeholder 4"/>
          <p:cNvSpPr>
            <a:spLocks noGrp="1"/>
          </p:cNvSpPr>
          <p:nvPr>
            <p:ph type="body" sz="quarter" idx="3"/>
          </p:nvPr>
        </p:nvSpPr>
        <p:spPr>
          <a:xfrm>
            <a:off x="710267" y="4861117"/>
            <a:ext cx="5678771" cy="4606561"/>
          </a:xfrm>
          <a:prstGeom prst="rect">
            <a:avLst/>
          </a:prstGeom>
        </p:spPr>
        <p:txBody>
          <a:bodyPr vert="horz" lIns="95114" tIns="47557" rIns="95114" bIns="475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720586"/>
            <a:ext cx="3076698" cy="512388"/>
          </a:xfrm>
          <a:prstGeom prst="rect">
            <a:avLst/>
          </a:prstGeom>
        </p:spPr>
        <p:txBody>
          <a:bodyPr vert="horz" lIns="95114" tIns="47557" rIns="95114" bIns="47557" rtlCol="0" anchor="b"/>
          <a:lstStyle>
            <a:lvl1pPr algn="l" eaLnBrk="1">
              <a:defRPr sz="1200"/>
            </a:lvl1pPr>
          </a:lstStyle>
          <a:p>
            <a:endParaRPr lang="en-US"/>
          </a:p>
        </p:txBody>
      </p:sp>
      <p:sp>
        <p:nvSpPr>
          <p:cNvPr id="7" name="Slide Number Placeholder 6"/>
          <p:cNvSpPr>
            <a:spLocks noGrp="1"/>
          </p:cNvSpPr>
          <p:nvPr>
            <p:ph type="sldNum" sz="quarter" idx="5"/>
          </p:nvPr>
        </p:nvSpPr>
        <p:spPr>
          <a:xfrm>
            <a:off x="4020932" y="9720586"/>
            <a:ext cx="3076698" cy="512388"/>
          </a:xfrm>
          <a:prstGeom prst="rect">
            <a:avLst/>
          </a:prstGeom>
        </p:spPr>
        <p:txBody>
          <a:bodyPr vert="horz" lIns="95114" tIns="47557" rIns="95114" bIns="47557" rtlCol="0" anchor="b"/>
          <a:lstStyle>
            <a:lvl1pPr algn="r">
              <a:defRPr sz="1200"/>
            </a:lvl1pPr>
          </a:lstStyle>
          <a:p>
            <a:fld id="{46FA801B-39CD-4EF7-8A2B-6220153DD6EB}" type="slidenum">
              <a:rPr lang="en-US" smtClean="0"/>
              <a:t>‹#›</a:t>
            </a:fld>
            <a:endParaRPr lang="en-US"/>
          </a:p>
        </p:txBody>
      </p:sp>
    </p:spTree>
    <p:extLst>
      <p:ext uri="{BB962C8B-B14F-4D97-AF65-F5344CB8AC3E}">
        <p14:creationId xmlns:p14="http://schemas.microsoft.com/office/powerpoint/2010/main" val="4285874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2</a:t>
            </a:fld>
            <a:endParaRPr lang="en-US"/>
          </a:p>
        </p:txBody>
      </p:sp>
    </p:spTree>
    <p:extLst>
      <p:ext uri="{BB962C8B-B14F-4D97-AF65-F5344CB8AC3E}">
        <p14:creationId xmlns:p14="http://schemas.microsoft.com/office/powerpoint/2010/main" val="1233273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4</a:t>
            </a:fld>
            <a:endParaRPr lang="en-US"/>
          </a:p>
        </p:txBody>
      </p:sp>
    </p:spTree>
    <p:extLst>
      <p:ext uri="{BB962C8B-B14F-4D97-AF65-F5344CB8AC3E}">
        <p14:creationId xmlns:p14="http://schemas.microsoft.com/office/powerpoint/2010/main" val="819168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5</a:t>
            </a:fld>
            <a:endParaRPr lang="en-US"/>
          </a:p>
        </p:txBody>
      </p:sp>
    </p:spTree>
    <p:extLst>
      <p:ext uri="{BB962C8B-B14F-4D97-AF65-F5344CB8AC3E}">
        <p14:creationId xmlns:p14="http://schemas.microsoft.com/office/powerpoint/2010/main" val="410562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A801B-39CD-4EF7-8A2B-6220153DD6EB}" type="slidenum">
              <a:rPr lang="en-US" smtClean="0"/>
              <a:t>15</a:t>
            </a:fld>
            <a:endParaRPr lang="en-US"/>
          </a:p>
        </p:txBody>
      </p:sp>
    </p:spTree>
    <p:extLst>
      <p:ext uri="{BB962C8B-B14F-4D97-AF65-F5344CB8AC3E}">
        <p14:creationId xmlns:p14="http://schemas.microsoft.com/office/powerpoint/2010/main" val="3096590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a:t>Click to edit Master title style</a:t>
            </a:r>
          </a:p>
        </p:txBody>
      </p:sp>
      <p:graphicFrame>
        <p:nvGraphicFramePr>
          <p:cNvPr id="6" name="Object 5" hidden="1">
            <a:extLst>
              <a:ext uri="{FF2B5EF4-FFF2-40B4-BE49-F238E27FC236}">
                <a16:creationId xmlns:a16="http://schemas.microsoft.com/office/drawing/2014/main" id="{A6E3893F-2B1C-47D7-B5D3-BDD0F4C40CED}"/>
              </a:ext>
            </a:extLst>
          </p:cNvPr>
          <p:cNvGraphicFramePr>
            <a:graphicFrameLocks noChangeAspect="1"/>
          </p:cNvGraphicFramePr>
          <p:nvPr userDrawn="1">
            <p:custDataLst>
              <p:tags r:id="rId4"/>
            </p:custDataLst>
            <p:extLst>
              <p:ext uri="{D42A27DB-BD31-4B8C-83A1-F6EECF244321}">
                <p14:modId xmlns:p14="http://schemas.microsoft.com/office/powerpoint/2010/main" val="1940646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6" imgW="270" imgH="270" progId="TCLayout.ActiveDocument.1">
                  <p:embed/>
                </p:oleObj>
              </mc:Choice>
              <mc:Fallback>
                <p:oleObj name="think-cell Slide" r:id="rId6" imgW="270" imgH="270" progId="TCLayout.ActiveDocument.1">
                  <p:embed/>
                  <p:pic>
                    <p:nvPicPr>
                      <p:cNvPr id="6" name="Object 5" hidden="1">
                        <a:extLst>
                          <a:ext uri="{FF2B5EF4-FFF2-40B4-BE49-F238E27FC236}">
                            <a16:creationId xmlns:a16="http://schemas.microsoft.com/office/drawing/2014/main" id="{A6E3893F-2B1C-47D7-B5D3-BDD0F4C40CE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33005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a:t>Click to edit Master title style</a:t>
            </a:r>
          </a:p>
        </p:txBody>
      </p:sp>
      <p:graphicFrame>
        <p:nvGraphicFramePr>
          <p:cNvPr id="7" name="Object 6" hidden="1">
            <a:extLst>
              <a:ext uri="{FF2B5EF4-FFF2-40B4-BE49-F238E27FC236}">
                <a16:creationId xmlns:a16="http://schemas.microsoft.com/office/drawing/2014/main" id="{D8BD857A-476C-45BF-B467-0B88255DB7C6}"/>
              </a:ext>
            </a:extLst>
          </p:cNvPr>
          <p:cNvGraphicFramePr>
            <a:graphicFrameLocks noChangeAspect="1"/>
          </p:cNvGraphicFramePr>
          <p:nvPr userDrawn="1">
            <p:custDataLst>
              <p:tags r:id="rId4"/>
            </p:custDataLst>
            <p:extLst>
              <p:ext uri="{D42A27DB-BD31-4B8C-83A1-F6EECF244321}">
                <p14:modId xmlns:p14="http://schemas.microsoft.com/office/powerpoint/2010/main" val="301103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D8BD857A-476C-45BF-B467-0B88255DB7C6}"/>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02129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82138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baseline="0">
                <a:latin typeface="+mn-lt"/>
                <a:sym typeface="+mn-lt"/>
              </a:defRPr>
            </a:lvl1pPr>
          </a:lstStyle>
          <a:p>
            <a:pPr lvl="0"/>
            <a:r>
              <a:rPr lang="en-US"/>
              <a:t>Client logo/name</a:t>
            </a:r>
          </a:p>
        </p:txBody>
      </p:sp>
      <p:sp>
        <p:nvSpPr>
          <p:cNvPr id="14" name="Title"/>
          <p:cNvSpPr>
            <a:spLocks noGrp="1"/>
          </p:cNvSpPr>
          <p:nvPr>
            <p:ph type="title" hasCustomPrompt="1"/>
          </p:nvPr>
        </p:nvSpPr>
        <p:spPr>
          <a:xfrm>
            <a:off x="0" y="4133088"/>
            <a:ext cx="3886200"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a:t>A.   Click to edit text</a:t>
            </a:r>
            <a:endParaRPr lang="de-DE"/>
          </a:p>
        </p:txBody>
      </p:sp>
      <p:graphicFrame>
        <p:nvGraphicFramePr>
          <p:cNvPr id="8" name="Object 7" hidden="1"/>
          <p:cNvGraphicFramePr>
            <a:graphicFrameLocks noChangeAspect="1"/>
          </p:cNvGraphicFramePr>
          <p:nvPr>
            <p:extLst>
              <p:ext uri="{D42A27DB-BD31-4B8C-83A1-F6EECF244321}">
                <p14:modId xmlns:p14="http://schemas.microsoft.com/office/powerpoint/2010/main" val="3901833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4"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Object 8" hidden="1">
            <a:extLst>
              <a:ext uri="{FF2B5EF4-FFF2-40B4-BE49-F238E27FC236}">
                <a16:creationId xmlns:a16="http://schemas.microsoft.com/office/drawing/2014/main" id="{D4A3C1B0-4616-4530-BAF0-13E7AF29FE62}"/>
              </a:ext>
            </a:extLst>
          </p:cNvPr>
          <p:cNvGraphicFramePr>
            <a:graphicFrameLocks noChangeAspect="1"/>
          </p:cNvGraphicFramePr>
          <p:nvPr userDrawn="1">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7" imgW="216" imgH="216" progId="TCLayout.ActiveDocument.1">
                  <p:embed/>
                </p:oleObj>
              </mc:Choice>
              <mc:Fallback>
                <p:oleObj name="think-cell Slide" r:id="rId7" imgW="216" imgH="216" progId="TCLayout.ActiveDocument.1">
                  <p:embed/>
                  <p:pic>
                    <p:nvPicPr>
                      <p:cNvPr id="9" name="Object 8" hidden="1">
                        <a:extLst>
                          <a:ext uri="{FF2B5EF4-FFF2-40B4-BE49-F238E27FC236}">
                            <a16:creationId xmlns:a16="http://schemas.microsoft.com/office/drawing/2014/main" id="{D4A3C1B0-4616-4530-BAF0-13E7AF29FE6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5342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5" name="Footer Placeholder" hidden="1"/>
          <p:cNvSpPr>
            <a:spLocks noGrp="1"/>
          </p:cNvSpPr>
          <p:nvPr>
            <p:ph type="ftr" sz="quarter" idx="10"/>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10" name="Type of document"/>
          <p:cNvSpPr>
            <a:spLocks noGrp="1"/>
          </p:cNvSpPr>
          <p:nvPr>
            <p:ph type="body" sz="quarter" idx="18" hasCustomPrompt="1"/>
          </p:nvPr>
        </p:nvSpPr>
        <p:spPr>
          <a:xfrm>
            <a:off x="0" y="4567619"/>
            <a:ext cx="3611301"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br>
              <a:rPr lang="en-US"/>
            </a:br>
            <a:r>
              <a:rPr lang="en-US"/>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a:t>Location, date of presentation (month, day, year)</a:t>
            </a:r>
          </a:p>
        </p:txBody>
      </p:sp>
      <p:sp>
        <p:nvSpPr>
          <p:cNvPr id="4" name="Project name"/>
          <p:cNvSpPr>
            <a:spLocks noGrp="1"/>
          </p:cNvSpPr>
          <p:nvPr>
            <p:ph type="title" hasCustomPrompt="1"/>
          </p:nvPr>
        </p:nvSpPr>
        <p:spPr>
          <a:xfrm>
            <a:off x="0" y="3320814"/>
            <a:ext cx="3611301" cy="1061248"/>
          </a:xfrm>
        </p:spPr>
        <p:txBody>
          <a:bodyPr wrap="square" lIns="360000" rIns="0" bIns="0" anchor="b" anchorCtr="0">
            <a:spAutoFit/>
          </a:bodyPr>
          <a:lstStyle>
            <a:lvl1pPr>
              <a:defRPr sz="3700" baseline="0">
                <a:latin typeface="+mj-lt"/>
                <a:sym typeface="+mn-lt"/>
              </a:defRPr>
            </a:lvl1pPr>
          </a:lstStyle>
          <a:p>
            <a:r>
              <a:rPr lang="en-US"/>
              <a:t>Project name or document title</a:t>
            </a:r>
          </a:p>
        </p:txBody>
      </p:sp>
      <p:sp>
        <p:nvSpPr>
          <p:cNvPr id="19" name="Position Lines"/>
          <p:cNvSpPr>
            <a:spLocks noChangeShapeType="1"/>
          </p:cNvSpPr>
          <p:nvPr>
            <p:custDataLst>
              <p:tags r:id="rId4"/>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a:t>Client logo/name</a:t>
            </a:r>
          </a:p>
        </p:txBody>
      </p:sp>
      <p:graphicFrame>
        <p:nvGraphicFramePr>
          <p:cNvPr id="9" name="Object 8" hidden="1">
            <a:extLst>
              <a:ext uri="{FF2B5EF4-FFF2-40B4-BE49-F238E27FC236}">
                <a16:creationId xmlns:a16="http://schemas.microsoft.com/office/drawing/2014/main" id="{6ADDC677-1AAF-4216-9B0F-DF8633A434D0}"/>
              </a:ext>
            </a:extLst>
          </p:cNvPr>
          <p:cNvGraphicFramePr>
            <a:graphicFrameLocks noChangeAspect="1"/>
          </p:cNvGraphicFramePr>
          <p:nvPr userDrawn="1">
            <p:custDataLst>
              <p:tags r:id="rId5"/>
            </p:custDataLst>
            <p:extLst>
              <p:ext uri="{D42A27DB-BD31-4B8C-83A1-F6EECF244321}">
                <p14:modId xmlns:p14="http://schemas.microsoft.com/office/powerpoint/2010/main" val="484099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7" imgW="473" imgH="473" progId="TCLayout.ActiveDocument.1">
                  <p:embed/>
                </p:oleObj>
              </mc:Choice>
              <mc:Fallback>
                <p:oleObj name="think-cell Slide" r:id="rId7" imgW="473" imgH="473" progId="TCLayout.ActiveDocument.1">
                  <p:embed/>
                  <p:pic>
                    <p:nvPicPr>
                      <p:cNvPr id="9" name="Object 8" hidden="1">
                        <a:extLst>
                          <a:ext uri="{FF2B5EF4-FFF2-40B4-BE49-F238E27FC236}">
                            <a16:creationId xmlns:a16="http://schemas.microsoft.com/office/drawing/2014/main" id="{6ADDC677-1AAF-4216-9B0F-DF8633A434D0}"/>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14730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5" name="Contents Text"/>
          <p:cNvSpPr>
            <a:spLocks noGrp="1"/>
          </p:cNvSpPr>
          <p:nvPr>
            <p:ph type="body" sz="quarter" idx="10" hasCustomPrompt="1"/>
            <p:custDataLst>
              <p:tags r:id="rId3"/>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a:t>A.	xxx	xx</a:t>
            </a:r>
          </a:p>
          <a:p>
            <a:pPr lvl="0"/>
            <a:r>
              <a:rPr lang="en-US"/>
              <a:t>B.	xxx	xx</a:t>
            </a:r>
          </a:p>
          <a:p>
            <a:pPr lvl="1"/>
            <a:r>
              <a:rPr lang="en-US"/>
              <a:t>1.	xxx	xx</a:t>
            </a:r>
          </a:p>
          <a:p>
            <a:pPr lvl="1"/>
            <a:r>
              <a:rPr lang="en-US"/>
              <a:t>2.	xxx	xx</a:t>
            </a:r>
          </a:p>
          <a:p>
            <a:pPr lvl="2"/>
            <a:r>
              <a:rPr lang="en-US"/>
              <a:t>2.1	xxx	xx</a:t>
            </a:r>
          </a:p>
          <a:p>
            <a:pPr lvl="2"/>
            <a:r>
              <a:rPr lang="en-US"/>
              <a:t>2.2	xxx	xx</a:t>
            </a:r>
          </a:p>
          <a:p>
            <a:pPr lvl="0"/>
            <a:r>
              <a:rPr lang="en-US"/>
              <a:t>C.	xxx	xx</a:t>
            </a:r>
          </a:p>
          <a:p>
            <a:pPr lvl="1"/>
            <a:r>
              <a:rPr lang="en-US"/>
              <a:t>1.	xxx	xx</a:t>
            </a:r>
          </a:p>
          <a:p>
            <a:pPr lvl="2"/>
            <a:r>
              <a:rPr lang="en-US"/>
              <a:t>1.1	xxx	xx</a:t>
            </a:r>
          </a:p>
        </p:txBody>
      </p:sp>
      <p:sp>
        <p:nvSpPr>
          <p:cNvPr id="14" name="Title"/>
          <p:cNvSpPr>
            <a:spLocks noGrp="1"/>
          </p:cNvSpPr>
          <p:nvPr>
            <p:ph type="title" hasCustomPrompt="1"/>
            <p:custDataLst>
              <p:tags r:id="rId4"/>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sp>
        <p:nvSpPr>
          <p:cNvPr id="11" name="Slide Number Line">
            <a:extLst>
              <a:ext uri="{FF2B5EF4-FFF2-40B4-BE49-F238E27FC236}">
                <a16:creationId xmlns:a16="http://schemas.microsoft.com/office/drawing/2014/main" id="{45C2DE11-FA40-4D5E-9DAE-3E4129080F72}"/>
              </a:ext>
            </a:extLst>
          </p:cNvPr>
          <p:cNvSpPr>
            <a:spLocks noChangeShapeType="1"/>
          </p:cNvSpPr>
          <p:nvPr userDrawn="1"/>
        </p:nvSpPr>
        <p:spPr bwMode="auto">
          <a:xfrm>
            <a:off x="9269413" y="6710363"/>
            <a:ext cx="0" cy="123825"/>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US"/>
          </a:p>
        </p:txBody>
      </p:sp>
      <p:sp>
        <p:nvSpPr>
          <p:cNvPr id="12" name="Note: Exclusive dealing">
            <a:extLst>
              <a:ext uri="{FF2B5EF4-FFF2-40B4-BE49-F238E27FC236}">
                <a16:creationId xmlns:a16="http://schemas.microsoft.com/office/drawing/2014/main" id="{4D06BEF1-4CD8-4607-BE70-05B0F389882F}"/>
              </a:ext>
            </a:extLst>
          </p:cNvPr>
          <p:cNvSpPr txBox="1">
            <a:spLocks noChangeArrowheads="1"/>
          </p:cNvSpPr>
          <p:nvPr userDrawn="1">
            <p:custDataLst>
              <p:tags r:id="rId5"/>
            </p:custDataLst>
          </p:nvPr>
        </p:nvSpPr>
        <p:spPr bwMode="auto">
          <a:xfrm>
            <a:off x="738188" y="6280150"/>
            <a:ext cx="853598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tabLst>
                <a:tab pos="4857750" algn="l"/>
              </a:tabLst>
              <a:defRPr sz="1300" b="1">
                <a:solidFill>
                  <a:schemeClr val="tx1"/>
                </a:solidFill>
                <a:latin typeface="Arial Narrow" pitchFamily="34" charset="0"/>
              </a:defRPr>
            </a:lvl1pPr>
            <a:lvl2pPr marL="742950" indent="-285750" eaLnBrk="0" hangingPunct="0">
              <a:tabLst>
                <a:tab pos="4857750" algn="l"/>
              </a:tabLst>
              <a:defRPr sz="1300" b="1">
                <a:solidFill>
                  <a:schemeClr val="tx1"/>
                </a:solidFill>
                <a:latin typeface="Arial Narrow" pitchFamily="34" charset="0"/>
              </a:defRPr>
            </a:lvl2pPr>
            <a:lvl3pPr marL="1143000" indent="-228600" eaLnBrk="0" hangingPunct="0">
              <a:tabLst>
                <a:tab pos="4857750" algn="l"/>
              </a:tabLst>
              <a:defRPr sz="1300" b="1">
                <a:solidFill>
                  <a:schemeClr val="tx1"/>
                </a:solidFill>
                <a:latin typeface="Arial Narrow" pitchFamily="34" charset="0"/>
              </a:defRPr>
            </a:lvl3pPr>
            <a:lvl4pPr marL="1600200" indent="-228600" eaLnBrk="0" hangingPunct="0">
              <a:tabLst>
                <a:tab pos="4857750" algn="l"/>
              </a:tabLst>
              <a:defRPr sz="1300" b="1">
                <a:solidFill>
                  <a:schemeClr val="tx1"/>
                </a:solidFill>
                <a:latin typeface="Arial Narrow" pitchFamily="34" charset="0"/>
              </a:defRPr>
            </a:lvl4pPr>
            <a:lvl5pPr marL="2057400" indent="-228600" eaLnBrk="0" hangingPunct="0">
              <a:tabLst>
                <a:tab pos="4857750" algn="l"/>
              </a:tabLst>
              <a:defRPr sz="1300" b="1">
                <a:solidFill>
                  <a:schemeClr val="tx1"/>
                </a:solidFill>
                <a:latin typeface="Arial Narrow" pitchFamily="34" charset="0"/>
              </a:defRPr>
            </a:lvl5pPr>
            <a:lvl6pPr marL="2514600" indent="-228600" eaLnBrk="0" fontAlgn="base" hangingPunct="0">
              <a:spcBef>
                <a:spcPct val="0"/>
              </a:spcBef>
              <a:spcAft>
                <a:spcPct val="0"/>
              </a:spcAft>
              <a:tabLst>
                <a:tab pos="4857750" algn="l"/>
              </a:tabLst>
              <a:defRPr sz="1300" b="1">
                <a:solidFill>
                  <a:schemeClr val="tx1"/>
                </a:solidFill>
                <a:latin typeface="Arial Narrow" pitchFamily="34" charset="0"/>
              </a:defRPr>
            </a:lvl6pPr>
            <a:lvl7pPr marL="2971800" indent="-228600" eaLnBrk="0" fontAlgn="base" hangingPunct="0">
              <a:spcBef>
                <a:spcPct val="0"/>
              </a:spcBef>
              <a:spcAft>
                <a:spcPct val="0"/>
              </a:spcAft>
              <a:tabLst>
                <a:tab pos="4857750" algn="l"/>
              </a:tabLst>
              <a:defRPr sz="1300" b="1">
                <a:solidFill>
                  <a:schemeClr val="tx1"/>
                </a:solidFill>
                <a:latin typeface="Arial Narrow" pitchFamily="34" charset="0"/>
              </a:defRPr>
            </a:lvl7pPr>
            <a:lvl8pPr marL="3429000" indent="-228600" eaLnBrk="0" fontAlgn="base" hangingPunct="0">
              <a:spcBef>
                <a:spcPct val="0"/>
              </a:spcBef>
              <a:spcAft>
                <a:spcPct val="0"/>
              </a:spcAft>
              <a:tabLst>
                <a:tab pos="4857750" algn="l"/>
              </a:tabLst>
              <a:defRPr sz="1300" b="1">
                <a:solidFill>
                  <a:schemeClr val="tx1"/>
                </a:solidFill>
                <a:latin typeface="Arial Narrow" pitchFamily="34" charset="0"/>
              </a:defRPr>
            </a:lvl8pPr>
            <a:lvl9pPr marL="3886200" indent="-228600" eaLnBrk="0" fontAlgn="base" hangingPunct="0">
              <a:spcBef>
                <a:spcPct val="0"/>
              </a:spcBef>
              <a:spcAft>
                <a:spcPct val="0"/>
              </a:spcAft>
              <a:tabLst>
                <a:tab pos="4857750" algn="l"/>
              </a:tabLst>
              <a:defRPr sz="1300" b="1">
                <a:solidFill>
                  <a:schemeClr val="tx1"/>
                </a:solidFill>
                <a:latin typeface="Arial Narrow" pitchFamily="34" charset="0"/>
              </a:defRPr>
            </a:lvl9pPr>
          </a:lstStyle>
          <a:p>
            <a:r>
              <a:rPr kumimoji="1" lang="en-US" altLang="de-DE" sz="900" b="0">
                <a:sym typeface="+mn-lt"/>
              </a:rPr>
              <a:t>This document shall be treated as confidential. It has been compiled for the exclusive, internal use by our client and is not complete without the underlying detail analyses and the oral presentation. </a:t>
            </a:r>
          </a:p>
          <a:p>
            <a:r>
              <a:rPr kumimoji="1" lang="en-US" altLang="de-DE" sz="900" b="0">
                <a:sym typeface="+mn-lt"/>
              </a:rPr>
              <a:t>It may not be passed on and/or may not be made available to third parties without prior written consent from	.</a:t>
            </a:r>
          </a:p>
          <a:p>
            <a:endParaRPr kumimoji="1" lang="en-US" altLang="de-DE" sz="900" b="0">
              <a:sym typeface="+mn-lt"/>
            </a:endParaRPr>
          </a:p>
          <a:p>
            <a:r>
              <a:rPr kumimoji="1" lang="en-US" altLang="de-DE" sz="900" b="0">
                <a:sym typeface="+mn-lt"/>
              </a:rPr>
              <a:t>©  Roland Berger</a:t>
            </a:r>
          </a:p>
        </p:txBody>
      </p:sp>
      <p:pic>
        <p:nvPicPr>
          <p:cNvPr id="13" name="Bild 2" descr="RolandBerger_Logo_p_RGB_1245px.png">
            <a:extLst>
              <a:ext uri="{FF2B5EF4-FFF2-40B4-BE49-F238E27FC236}">
                <a16:creationId xmlns:a16="http://schemas.microsoft.com/office/drawing/2014/main" id="{94106BAB-98B5-43FF-B341-E2C5BA6BE94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35575" y="6411913"/>
            <a:ext cx="355600"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7814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Tree>
    <p:extLst>
      <p:ext uri="{BB962C8B-B14F-4D97-AF65-F5344CB8AC3E}">
        <p14:creationId xmlns:p14="http://schemas.microsoft.com/office/powerpoint/2010/main" val="41434187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Tree>
    <p:extLst>
      <p:ext uri="{BB962C8B-B14F-4D97-AF65-F5344CB8AC3E}">
        <p14:creationId xmlns:p14="http://schemas.microsoft.com/office/powerpoint/2010/main" val="12712824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0"/>
            </p:custDataLst>
            <p:extLst>
              <p:ext uri="{D42A27DB-BD31-4B8C-83A1-F6EECF244321}">
                <p14:modId xmlns:p14="http://schemas.microsoft.com/office/powerpoint/2010/main" val="514245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1" imgW="270" imgH="270" progId="TCLayout.ActiveDocument.1">
                  <p:embed/>
                </p:oleObj>
              </mc:Choice>
              <mc:Fallback>
                <p:oleObj name="think-cell Slide" r:id="rId11" imgW="270" imgH="270" progId="TCLayout.ActiveDocument.1">
                  <p:embed/>
                  <p:pic>
                    <p:nvPicPr>
                      <p:cNvPr id="4" name="!!!Do not delete this th-style object!!!!"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xxx</a:t>
            </a:r>
          </a:p>
        </p:txBody>
      </p:sp>
      <p:sp>
        <p:nvSpPr>
          <p:cNvPr id="56"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a:solidFill>
                  <a:schemeClr val="tx1"/>
                </a:solidFill>
                <a:latin typeface="+mn-lt"/>
                <a:cs typeface="+mn-cs"/>
                <a:sym typeface="+mn-lt"/>
              </a:rPr>
              <a:t>1) xxx</a:t>
            </a:r>
          </a:p>
        </p:txBody>
      </p:sp>
      <p:grpSp>
        <p:nvGrpSpPr>
          <p:cNvPr id="5"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15 Point Text: Level 0</a:t>
            </a:r>
            <a:endParaRPr lang="en-US" sz="1500" b="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Placeholder"/>
          <p:cNvSpPr>
            <a:spLocks noGrp="1"/>
          </p:cNvSpPr>
          <p:nvPr>
            <p:ph type="title"/>
          </p:nvPr>
        </p:nvSpPr>
        <p:spPr>
          <a:xfrm>
            <a:off x="738000" y="720000"/>
            <a:ext cx="8535988" cy="747897"/>
          </a:xfrm>
          <a:prstGeom prst="rect">
            <a:avLst/>
          </a:prstGeom>
        </p:spPr>
        <p:txBody>
          <a:bodyPr vert="horz" wrap="square" lIns="0" tIns="0" rIns="0" bIns="0" rtlCol="0" anchor="t" anchorCtr="0">
            <a:noAutofit/>
          </a:bodyPr>
          <a:lstStyle/>
          <a:p>
            <a:r>
              <a:rPr lang="en-US" noProof="0"/>
              <a:t>Click to edit Master title style</a:t>
            </a:r>
          </a:p>
        </p:txBody>
      </p:sp>
      <p:grpSp>
        <p:nvGrpSpPr>
          <p:cNvPr id="19" name="Drawing grid" hidden="1"/>
          <p:cNvGrpSpPr/>
          <p:nvPr/>
        </p:nvGrpSpPr>
        <p:grpSpPr>
          <a:xfrm>
            <a:off x="0" y="0"/>
            <a:ext cx="9906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a:p>
          </p:txBody>
        </p:sp>
      </p:grpSp>
      <p:sp>
        <p:nvSpPr>
          <p:cNvPr id="33" name="rbStamp_Confidential" hidden="1">
            <a:extLst>
              <a:ext uri="{FF2B5EF4-FFF2-40B4-BE49-F238E27FC236}">
                <a16:creationId xmlns:a16="http://schemas.microsoft.com/office/drawing/2014/main" id="{B881ACB6-F60D-4B52-BD7C-A09DBD4F5EE1}"/>
              </a:ext>
            </a:extLst>
          </p:cNvPr>
          <p:cNvSpPr txBox="1"/>
          <p:nvPr userDrawn="1"/>
        </p:nvSpPr>
        <p:spPr>
          <a:xfrm rot="16200000">
            <a:off x="-3330000" y="3333600"/>
            <a:ext cx="6858000" cy="194400"/>
          </a:xfrm>
          <a:prstGeom prst="rect">
            <a:avLst/>
          </a:prstGeom>
          <a:solidFill>
            <a:schemeClr val="dk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en-GB" sz="1100" b="1" noProof="0">
                <a:solidFill>
                  <a:schemeClr val="lt1"/>
                </a:solidFill>
                <a:latin typeface="+mn-lt"/>
                <a:cs typeface="Arial Narrow" pitchFamily="34" charset="0"/>
              </a:rPr>
              <a:t>Confidential</a:t>
            </a:r>
          </a:p>
        </p:txBody>
      </p:sp>
      <p:sp>
        <p:nvSpPr>
          <p:cNvPr id="6" name="rbStamp_Workinprogress" hidden="1">
            <a:extLst>
              <a:ext uri="{FF2B5EF4-FFF2-40B4-BE49-F238E27FC236}">
                <a16:creationId xmlns:a16="http://schemas.microsoft.com/office/drawing/2014/main" id="{6B0DF331-0A25-46CE-B19A-1B3E25B8D090}"/>
              </a:ext>
            </a:extLst>
          </p:cNvPr>
          <p:cNvSpPr txBox="1"/>
          <p:nvPr userDrawn="1"/>
        </p:nvSpPr>
        <p:spPr>
          <a:xfrm rot="16200000">
            <a:off x="-3330000" y="3333600"/>
            <a:ext cx="6858000" cy="194400"/>
          </a:xfrm>
          <a:prstGeom prst="rect">
            <a:avLst/>
          </a:prstGeom>
          <a:solidFill>
            <a:schemeClr val="accent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ro-RO" sz="1200" b="1" noProof="0" err="1">
                <a:solidFill>
                  <a:srgbClr val="C00000"/>
                </a:solidFill>
                <a:latin typeface="+mn-lt"/>
                <a:cs typeface="Arial Narrow" pitchFamily="34" charset="0"/>
              </a:rPr>
              <a:t>Work</a:t>
            </a:r>
            <a:r>
              <a:rPr lang="ro-RO" sz="1200" b="1" noProof="0">
                <a:solidFill>
                  <a:srgbClr val="C00000"/>
                </a:solidFill>
                <a:latin typeface="+mn-lt"/>
                <a:cs typeface="Arial Narrow" pitchFamily="34" charset="0"/>
              </a:rPr>
              <a:t> in </a:t>
            </a:r>
            <a:r>
              <a:rPr lang="ro-RO" sz="1200" b="1" noProof="0" err="1">
                <a:solidFill>
                  <a:srgbClr val="C00000"/>
                </a:solidFill>
                <a:latin typeface="+mn-lt"/>
                <a:cs typeface="Arial Narrow" pitchFamily="34" charset="0"/>
              </a:rPr>
              <a:t>progress</a:t>
            </a:r>
            <a:endParaRPr lang="ro-RO" sz="1200" b="1" noProof="0">
              <a:solidFill>
                <a:srgbClr val="C00000"/>
              </a:solidFill>
              <a:latin typeface="+mn-lt"/>
              <a:cs typeface="Arial Narrow" pitchFamily="34" charset="0"/>
            </a:endParaRPr>
          </a:p>
        </p:txBody>
      </p:sp>
      <p:sp>
        <p:nvSpPr>
          <p:cNvPr id="7" name="rbStamp_Draft" hidden="1">
            <a:extLst>
              <a:ext uri="{FF2B5EF4-FFF2-40B4-BE49-F238E27FC236}">
                <a16:creationId xmlns:a16="http://schemas.microsoft.com/office/drawing/2014/main" id="{256244F5-B593-4C48-80B3-EF3570869E46}"/>
              </a:ext>
            </a:extLst>
          </p:cNvPr>
          <p:cNvSpPr txBox="1"/>
          <p:nvPr userDrawn="1"/>
        </p:nvSpPr>
        <p:spPr>
          <a:xfrm rot="16200000">
            <a:off x="-3330000" y="3333600"/>
            <a:ext cx="6858000" cy="194400"/>
          </a:xfrm>
          <a:prstGeom prst="rect">
            <a:avLst/>
          </a:prstGeom>
          <a:solidFill>
            <a:schemeClr val="accent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en-US" sz="1100" b="1" noProof="0">
                <a:solidFill>
                  <a:schemeClr val="dk1"/>
                </a:solidFill>
                <a:latin typeface="+mn-lt"/>
                <a:cs typeface="Arial Narrow" pitchFamily="34" charset="0"/>
              </a:rPr>
              <a:t>Draft</a:t>
            </a:r>
          </a:p>
        </p:txBody>
      </p:sp>
    </p:spTree>
    <p:extLst>
      <p:ext uri="{BB962C8B-B14F-4D97-AF65-F5344CB8AC3E}">
        <p14:creationId xmlns:p14="http://schemas.microsoft.com/office/powerpoint/2010/main" val="2229225058"/>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3" r:id="rId6"/>
    <p:sldLayoutId id="2147484774" r:id="rId7"/>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notesSlide" Target="../notesSlides/notesSlide1.xml"/><Relationship Id="rId10" Type="http://schemas.openxmlformats.org/officeDocument/2006/relationships/image" Target="../media/image8.jpeg"/><Relationship Id="rId4" Type="http://schemas.openxmlformats.org/officeDocument/2006/relationships/slideLayout" Target="../slideLayouts/slideLayout1.xml"/><Relationship Id="rId9"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2406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2"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November</a:t>
            </a:r>
          </a:p>
        </p:txBody>
      </p:sp>
      <p:sp>
        <p:nvSpPr>
          <p:cNvPr id="2" name="Title 1"/>
          <p:cNvSpPr>
            <a:spLocks noGrp="1"/>
          </p:cNvSpPr>
          <p:nvPr>
            <p:ph type="title"/>
          </p:nvPr>
        </p:nvSpPr>
        <p:spPr>
          <a:xfrm>
            <a:off x="0" y="2844718"/>
            <a:ext cx="3611301" cy="1537344"/>
          </a:xfrm>
        </p:spPr>
        <p:txBody>
          <a:bodyPr vert="horz"/>
          <a:lstStyle/>
          <a:p>
            <a:r>
              <a:rPr lang="en-US" dirty="0"/>
              <a:t>Preliminary analysis on higher education</a:t>
            </a:r>
          </a:p>
        </p:txBody>
      </p:sp>
      <p:sp>
        <p:nvSpPr>
          <p:cNvPr id="13" name="Text Placeholder 12">
            <a:extLst>
              <a:ext uri="{FF2B5EF4-FFF2-40B4-BE49-F238E27FC236}">
                <a16:creationId xmlns:a16="http://schemas.microsoft.com/office/drawing/2014/main" id="{9FD23DA1-BC0C-43FC-8331-D72485DF7E56}"/>
              </a:ext>
            </a:extLst>
          </p:cNvPr>
          <p:cNvSpPr>
            <a:spLocks noGrp="1"/>
          </p:cNvSpPr>
          <p:nvPr>
            <p:ph type="body" sz="quarter" idx="18"/>
          </p:nvPr>
        </p:nvSpPr>
        <p:spPr/>
        <p:txBody>
          <a:bodyPr/>
          <a:lstStyle/>
          <a:p>
            <a:r>
              <a:rPr lang="en-US" dirty="0"/>
              <a:t>Term Project 2</a:t>
            </a:r>
          </a:p>
          <a:p>
            <a:r>
              <a:rPr lang="en-US" dirty="0"/>
              <a:t>Data Engineering 1</a:t>
            </a:r>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531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err="1">
                <a:solidFill>
                  <a:schemeClr val="tx2"/>
                </a:solidFill>
                <a:latin typeface="+mn-lt"/>
                <a:cs typeface="+mn-cs"/>
                <a:sym typeface="+mn-lt"/>
              </a:rPr>
              <a:t>Knim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workflow</a:t>
            </a:r>
            <a:r>
              <a:rPr lang="hu-HU" sz="2100" b="0" dirty="0">
                <a:solidFill>
                  <a:schemeClr val="tx2"/>
                </a:solidFill>
                <a:latin typeface="+mn-lt"/>
                <a:cs typeface="+mn-cs"/>
                <a:sym typeface="+mn-lt"/>
              </a:rPr>
              <a:t> – </a:t>
            </a:r>
            <a:r>
              <a:rPr lang="hu-HU" sz="2100" b="0" dirty="0" err="1">
                <a:solidFill>
                  <a:schemeClr val="tx2"/>
                </a:solidFill>
                <a:latin typeface="+mn-lt"/>
                <a:cs typeface="+mn-cs"/>
                <a:sym typeface="+mn-lt"/>
              </a:rPr>
              <a:t>API</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207749"/>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hu-HU" sz="1500" b="0" dirty="0" err="1">
                <a:latin typeface="+mj-lt"/>
                <a:sym typeface="+mn-lt"/>
              </a:rPr>
              <a:t>xxxx</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12" name="RbNavigator">
            <a:extLst>
              <a:ext uri="{FF2B5EF4-FFF2-40B4-BE49-F238E27FC236}">
                <a16:creationId xmlns:a16="http://schemas.microsoft.com/office/drawing/2014/main" id="{6026E40D-4AEA-49ED-924F-879277292E72}"/>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13" name="RbSticker">
            <a:extLst>
              <a:ext uri="{FF2B5EF4-FFF2-40B4-BE49-F238E27FC236}">
                <a16:creationId xmlns:a16="http://schemas.microsoft.com/office/drawing/2014/main" id="{5F0673A0-3C07-47E6-ADE3-71B5136BBD07}"/>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14" name="Picture 6" descr="Nincs elérhető leírás.">
            <a:extLst>
              <a:ext uri="{FF2B5EF4-FFF2-40B4-BE49-F238E27FC236}">
                <a16:creationId xmlns:a16="http://schemas.microsoft.com/office/drawing/2014/main" id="{52CFE02B-624B-4852-BCBF-4E1D417060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162" y="2285902"/>
            <a:ext cx="6122769" cy="2561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603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3"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err="1">
                <a:solidFill>
                  <a:schemeClr val="tx2"/>
                </a:solidFill>
                <a:latin typeface="+mn-lt"/>
                <a:cs typeface="+mn-cs"/>
                <a:sym typeface="+mn-lt"/>
              </a:rPr>
              <a:t>Knim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workflow</a:t>
            </a:r>
            <a:r>
              <a:rPr lang="hu-HU" sz="2100" b="0" dirty="0">
                <a:solidFill>
                  <a:schemeClr val="tx2"/>
                </a:solidFill>
                <a:latin typeface="+mn-lt"/>
                <a:cs typeface="+mn-cs"/>
                <a:sym typeface="+mn-lt"/>
              </a:rPr>
              <a:t> – </a:t>
            </a:r>
            <a:r>
              <a:rPr lang="hu-HU" sz="2100" b="0" dirty="0" err="1">
                <a:solidFill>
                  <a:schemeClr val="tx2"/>
                </a:solidFill>
                <a:latin typeface="+mn-lt"/>
                <a:cs typeface="+mn-cs"/>
                <a:sym typeface="+mn-lt"/>
              </a:rPr>
              <a:t>Visualisatios</a:t>
            </a:r>
            <a:r>
              <a:rPr lang="hu-HU" sz="2100" b="0" dirty="0">
                <a:solidFill>
                  <a:schemeClr val="tx2"/>
                </a:solidFill>
                <a:latin typeface="+mn-lt"/>
                <a:cs typeface="+mn-cs"/>
                <a:sym typeface="+mn-lt"/>
              </a:rPr>
              <a:t> &amp; </a:t>
            </a:r>
            <a:r>
              <a:rPr lang="hu-HU" sz="2100" b="0" dirty="0" err="1">
                <a:solidFill>
                  <a:schemeClr val="tx2"/>
                </a:solidFill>
                <a:latin typeface="+mn-lt"/>
                <a:cs typeface="+mn-cs"/>
                <a:sym typeface="+mn-lt"/>
              </a:rPr>
              <a:t>analysis</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4895027" y="2252634"/>
            <a:ext cx="4378958" cy="720197"/>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sym typeface="+mn-lt"/>
              </a:rPr>
              <a:t>This workflow creates two visualizations; university ranking by the % of international students and by the % of female students. The row filter node only flows through the data points for higher education from the overall dataset.</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4535504" y="2038207"/>
            <a:ext cx="155575" cy="1608250"/>
            <a:chOff x="698500" y="623133"/>
            <a:chExt cx="155575" cy="1344534"/>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12" name="RbNavigator">
            <a:extLst>
              <a:ext uri="{FF2B5EF4-FFF2-40B4-BE49-F238E27FC236}">
                <a16:creationId xmlns:a16="http://schemas.microsoft.com/office/drawing/2014/main" id="{F7181DD2-DBA9-4367-9C85-A3CADA8DE307}"/>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13" name="RbSticker">
            <a:extLst>
              <a:ext uri="{FF2B5EF4-FFF2-40B4-BE49-F238E27FC236}">
                <a16:creationId xmlns:a16="http://schemas.microsoft.com/office/drawing/2014/main" id="{8CD29364-8B59-42D3-AD3C-D0A8BEB37FDB}"/>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96264" name="Picture 8" descr="Nincs elérhető leírás.">
            <a:extLst>
              <a:ext uri="{FF2B5EF4-FFF2-40B4-BE49-F238E27FC236}">
                <a16:creationId xmlns:a16="http://schemas.microsoft.com/office/drawing/2014/main" id="{19513E74-23B4-482D-8A6D-D9B7665BDF72}"/>
              </a:ext>
            </a:extLst>
          </p:cNvPr>
          <p:cNvPicPr>
            <a:picLocks noChangeArrowheads="1"/>
          </p:cNvPicPr>
          <p:nvPr/>
        </p:nvPicPr>
        <p:blipFill rotWithShape="1">
          <a:blip r:embed="rId6">
            <a:extLst>
              <a:ext uri="{28A0092B-C50C-407E-A947-70E740481C1C}">
                <a14:useLocalDpi xmlns:a14="http://schemas.microsoft.com/office/drawing/2010/main" val="0"/>
              </a:ext>
            </a:extLst>
          </a:blip>
          <a:srcRect t="7228" b="7228"/>
          <a:stretch/>
        </p:blipFill>
        <p:spPr bwMode="auto">
          <a:xfrm>
            <a:off x="707490" y="3807036"/>
            <a:ext cx="3583850" cy="1408762"/>
          </a:xfrm>
          <a:prstGeom prst="rect">
            <a:avLst/>
          </a:prstGeom>
          <a:noFill/>
          <a:extLst>
            <a:ext uri="{909E8E84-426E-40DD-AFC4-6F175D3DCCD1}">
              <a14:hiddenFill xmlns:a14="http://schemas.microsoft.com/office/drawing/2010/main">
                <a:solidFill>
                  <a:srgbClr val="FFFFFF"/>
                </a:solidFill>
              </a14:hiddenFill>
            </a:ext>
          </a:extLst>
        </p:spPr>
      </p:pic>
      <p:pic>
        <p:nvPicPr>
          <p:cNvPr id="96266" name="Picture 10" descr="Nincs elérhető leírás.">
            <a:extLst>
              <a:ext uri="{FF2B5EF4-FFF2-40B4-BE49-F238E27FC236}">
                <a16:creationId xmlns:a16="http://schemas.microsoft.com/office/drawing/2014/main" id="{1EAFBEF1-3179-4CE9-990E-1987B2F04D8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7490" y="5226990"/>
            <a:ext cx="3583850" cy="1408762"/>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RightFollow218">
            <a:extLst>
              <a:ext uri="{FF2B5EF4-FFF2-40B4-BE49-F238E27FC236}">
                <a16:creationId xmlns:a16="http://schemas.microsoft.com/office/drawing/2014/main" id="{E531A8F1-9204-4211-9528-1D70A83C0D5B}"/>
              </a:ext>
            </a:extLst>
          </p:cNvPr>
          <p:cNvGrpSpPr/>
          <p:nvPr/>
        </p:nvGrpSpPr>
        <p:grpSpPr>
          <a:xfrm>
            <a:off x="4528113" y="3803466"/>
            <a:ext cx="155575" cy="1344534"/>
            <a:chOff x="698500" y="623133"/>
            <a:chExt cx="155575" cy="1344534"/>
          </a:xfrm>
        </p:grpSpPr>
        <p:cxnSp>
          <p:nvCxnSpPr>
            <p:cNvPr id="20" name="VLine16">
              <a:extLst>
                <a:ext uri="{FF2B5EF4-FFF2-40B4-BE49-F238E27FC236}">
                  <a16:creationId xmlns:a16="http://schemas.microsoft.com/office/drawing/2014/main" id="{9714882A-E7BD-40B7-A6A9-B20552AE4840}"/>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1" name="IsoscelesTriangle17">
              <a:extLst>
                <a:ext uri="{FF2B5EF4-FFF2-40B4-BE49-F238E27FC236}">
                  <a16:creationId xmlns:a16="http://schemas.microsoft.com/office/drawing/2014/main" id="{8FFFF767-ED2F-4F51-AAAD-8BA5F173D149}"/>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grpSp>
        <p:nvGrpSpPr>
          <p:cNvPr id="22" name="RightFollow218">
            <a:extLst>
              <a:ext uri="{FF2B5EF4-FFF2-40B4-BE49-F238E27FC236}">
                <a16:creationId xmlns:a16="http://schemas.microsoft.com/office/drawing/2014/main" id="{AC4EDA0C-B605-4485-A14A-FFF9078AF62C}"/>
              </a:ext>
            </a:extLst>
          </p:cNvPr>
          <p:cNvGrpSpPr/>
          <p:nvPr/>
        </p:nvGrpSpPr>
        <p:grpSpPr>
          <a:xfrm>
            <a:off x="4528113" y="5220668"/>
            <a:ext cx="155575" cy="1344534"/>
            <a:chOff x="698500" y="623133"/>
            <a:chExt cx="155575" cy="1344534"/>
          </a:xfrm>
        </p:grpSpPr>
        <p:cxnSp>
          <p:nvCxnSpPr>
            <p:cNvPr id="23" name="VLine16">
              <a:extLst>
                <a:ext uri="{FF2B5EF4-FFF2-40B4-BE49-F238E27FC236}">
                  <a16:creationId xmlns:a16="http://schemas.microsoft.com/office/drawing/2014/main" id="{334ED700-0291-4A7F-9F10-AE01F39F2C5E}"/>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4" name="IsoscelesTriangle17">
              <a:extLst>
                <a:ext uri="{FF2B5EF4-FFF2-40B4-BE49-F238E27FC236}">
                  <a16:creationId xmlns:a16="http://schemas.microsoft.com/office/drawing/2014/main" id="{86E48670-FFE2-432D-9AE9-BCF4893D00B6}"/>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25" name="RBContent11">
            <a:extLst>
              <a:ext uri="{FF2B5EF4-FFF2-40B4-BE49-F238E27FC236}">
                <a16:creationId xmlns:a16="http://schemas.microsoft.com/office/drawing/2014/main" id="{756CF974-2E38-410E-873D-2CCF15F7E6C6}"/>
              </a:ext>
            </a:extLst>
          </p:cNvPr>
          <p:cNvSpPr txBox="1">
            <a:spLocks/>
          </p:cNvSpPr>
          <p:nvPr/>
        </p:nvSpPr>
        <p:spPr>
          <a:xfrm>
            <a:off x="4895028" y="3646457"/>
            <a:ext cx="4378958" cy="900246"/>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t>This workflow creates a Sunburst Chart to visualize the percentage of public or private expenditure by each country in the year 2011. This is an interactive chart to let the viewer have freedom in bisecting the public vs private spending in elementary vs higher education. </a:t>
            </a:r>
            <a:endParaRPr lang="en-US" sz="1500" b="0" dirty="0">
              <a:latin typeface="+mj-lt"/>
              <a:sym typeface="+mn-lt"/>
            </a:endParaRPr>
          </a:p>
        </p:txBody>
      </p:sp>
      <p:sp>
        <p:nvSpPr>
          <p:cNvPr id="26" name="RBContent11">
            <a:extLst>
              <a:ext uri="{FF2B5EF4-FFF2-40B4-BE49-F238E27FC236}">
                <a16:creationId xmlns:a16="http://schemas.microsoft.com/office/drawing/2014/main" id="{289619DD-142C-4935-BC0D-C9B84B87538C}"/>
              </a:ext>
            </a:extLst>
          </p:cNvPr>
          <p:cNvSpPr txBox="1">
            <a:spLocks/>
          </p:cNvSpPr>
          <p:nvPr/>
        </p:nvSpPr>
        <p:spPr>
          <a:xfrm>
            <a:off x="4895028" y="5116794"/>
            <a:ext cx="4378958" cy="207749"/>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hu-HU" sz="1500" b="0" dirty="0" err="1">
                <a:latin typeface="+mj-lt"/>
                <a:sym typeface="+mn-lt"/>
              </a:rPr>
              <a:t>xxxx</a:t>
            </a:r>
            <a:endParaRPr lang="en-US" sz="1500" b="0" dirty="0">
              <a:latin typeface="+mj-lt"/>
              <a:sym typeface="+mn-lt"/>
            </a:endParaRPr>
          </a:p>
        </p:txBody>
      </p:sp>
      <p:pic>
        <p:nvPicPr>
          <p:cNvPr id="3" name="Picture 2" descr="Timeline&#10;&#10;Description automatically generated">
            <a:extLst>
              <a:ext uri="{FF2B5EF4-FFF2-40B4-BE49-F238E27FC236}">
                <a16:creationId xmlns:a16="http://schemas.microsoft.com/office/drawing/2014/main" id="{012A010F-8390-4A16-9926-6A329AD6319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7491" y="2021723"/>
            <a:ext cx="3583849" cy="1682639"/>
          </a:xfrm>
          <a:prstGeom prst="rect">
            <a:avLst/>
          </a:prstGeom>
        </p:spPr>
      </p:pic>
    </p:spTree>
    <p:extLst>
      <p:ext uri="{BB962C8B-B14F-4D97-AF65-F5344CB8AC3E}">
        <p14:creationId xmlns:p14="http://schemas.microsoft.com/office/powerpoint/2010/main" val="2446058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781171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6"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November</a:t>
            </a:r>
          </a:p>
        </p:txBody>
      </p:sp>
      <p:sp>
        <p:nvSpPr>
          <p:cNvPr id="2" name="Title 1"/>
          <p:cNvSpPr>
            <a:spLocks noGrp="1"/>
          </p:cNvSpPr>
          <p:nvPr>
            <p:ph type="title"/>
          </p:nvPr>
        </p:nvSpPr>
        <p:spPr>
          <a:xfrm>
            <a:off x="0" y="3357166"/>
            <a:ext cx="3611301" cy="1024896"/>
          </a:xfrm>
        </p:spPr>
        <p:txBody>
          <a:bodyPr vert="horz"/>
          <a:lstStyle/>
          <a:p>
            <a:r>
              <a:rPr lang="en-US" dirty="0"/>
              <a:t>Overview of key results</a:t>
            </a:r>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9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212353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1"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err="1">
                <a:solidFill>
                  <a:schemeClr val="tx2"/>
                </a:solidFill>
                <a:latin typeface="+mn-lt"/>
                <a:cs typeface="+mn-cs"/>
                <a:sym typeface="+mn-lt"/>
              </a:rPr>
              <a:t>Educational</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expenditure</a:t>
            </a:r>
            <a:r>
              <a:rPr lang="hu-HU" sz="2100" b="0" dirty="0">
                <a:solidFill>
                  <a:schemeClr val="tx2"/>
                </a:solidFill>
                <a:latin typeface="+mn-lt"/>
                <a:cs typeface="+mn-cs"/>
                <a:sym typeface="+mn-lt"/>
              </a:rPr>
              <a:t> per country, 2011 [% of GDP]</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3574825"/>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t>The innermost circle shows all the countries. Starting from the countries that spent the most in a clockwise direction. </a:t>
            </a:r>
          </a:p>
          <a:p>
            <a:pPr marL="142628" lvl="1" indent="-142628">
              <a:lnSpc>
                <a:spcPct val="90000"/>
              </a:lnSpc>
              <a:spcBef>
                <a:spcPts val="400"/>
              </a:spcBef>
              <a:buSzPct val="100000"/>
              <a:buFont typeface="Arial Narrow" panose="020B0606020202030204" pitchFamily="34" charset="0"/>
              <a:buChar char="&gt;"/>
            </a:pPr>
            <a:r>
              <a:rPr lang="en-US" b="0" dirty="0"/>
              <a:t>Then we can select the type of institution and finally either public or private spending as a percentage of the country’s GDP. </a:t>
            </a:r>
          </a:p>
          <a:p>
            <a:pPr marL="142628" lvl="1" indent="-142628">
              <a:lnSpc>
                <a:spcPct val="90000"/>
              </a:lnSpc>
              <a:spcBef>
                <a:spcPts val="400"/>
              </a:spcBef>
              <a:buSzPct val="100000"/>
              <a:buFont typeface="Arial Narrow" panose="020B0606020202030204" pitchFamily="34" charset="0"/>
              <a:buChar char="&gt;"/>
            </a:pPr>
            <a:r>
              <a:rPr lang="en-US" b="0" dirty="0"/>
              <a:t>This is all done by hovering the mouse over each fragment and based on the hover, the results are displayed on the top left corner.</a:t>
            </a:r>
          </a:p>
          <a:p>
            <a:pPr marL="142628" lvl="1" indent="-142628">
              <a:lnSpc>
                <a:spcPct val="90000"/>
              </a:lnSpc>
              <a:spcBef>
                <a:spcPts val="400"/>
              </a:spcBef>
              <a:buSzPct val="100000"/>
              <a:buFont typeface="Arial Narrow" panose="020B0606020202030204" pitchFamily="34" charset="0"/>
              <a:buChar char="&gt;"/>
            </a:pPr>
            <a:r>
              <a:rPr lang="en-US" b="0" dirty="0"/>
              <a:t> For example, the following image shows the results for public spending in New Zealand for elementary schools and secondary schools. </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BB0619D6-6271-4EE2-BF07-E3F6BDFDDF05}"/>
              </a:ext>
            </a:extLst>
          </p:cNvPr>
          <p:cNvPicPr>
            <a:picLocks noChangeAspect="1"/>
          </p:cNvPicPr>
          <p:nvPr/>
        </p:nvPicPr>
        <p:blipFill rotWithShape="1">
          <a:blip r:embed="rId6"/>
          <a:srcRect l="23872" t="7337" r="29530" b="2841"/>
          <a:stretch/>
        </p:blipFill>
        <p:spPr>
          <a:xfrm>
            <a:off x="1485457" y="2252634"/>
            <a:ext cx="4423777" cy="4219725"/>
          </a:xfrm>
          <a:prstGeom prst="rect">
            <a:avLst/>
          </a:prstGeom>
        </p:spPr>
      </p:pic>
      <p:pic>
        <p:nvPicPr>
          <p:cNvPr id="12" name="Picture 11">
            <a:extLst>
              <a:ext uri="{FF2B5EF4-FFF2-40B4-BE49-F238E27FC236}">
                <a16:creationId xmlns:a16="http://schemas.microsoft.com/office/drawing/2014/main" id="{BC58ACAF-7740-42A6-9E0C-C93BB0CB3160}"/>
              </a:ext>
            </a:extLst>
          </p:cNvPr>
          <p:cNvPicPr>
            <a:picLocks noChangeAspect="1"/>
          </p:cNvPicPr>
          <p:nvPr/>
        </p:nvPicPr>
        <p:blipFill rotWithShape="1">
          <a:blip r:embed="rId6"/>
          <a:srcRect l="90257" t="1087" r="21" b="-1087"/>
          <a:stretch/>
        </p:blipFill>
        <p:spPr>
          <a:xfrm>
            <a:off x="5829062" y="2227897"/>
            <a:ext cx="829030" cy="4219725"/>
          </a:xfrm>
          <a:prstGeom prst="rect">
            <a:avLst/>
          </a:prstGeom>
        </p:spPr>
      </p:pic>
      <p:sp>
        <p:nvSpPr>
          <p:cNvPr id="19" name="RbLeanShape Arrow Option 1 3">
            <a:extLst>
              <a:ext uri="{FF2B5EF4-FFF2-40B4-BE49-F238E27FC236}">
                <a16:creationId xmlns:a16="http://schemas.microsoft.com/office/drawing/2014/main" id="{E53E8473-2B0B-431A-BFF8-E345C28B3009}"/>
              </a:ext>
            </a:extLst>
          </p:cNvPr>
          <p:cNvSpPr/>
          <p:nvPr/>
        </p:nvSpPr>
        <p:spPr>
          <a:xfrm>
            <a:off x="2396224"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F7B6D2"/>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t>    Public</a:t>
            </a:r>
          </a:p>
        </p:txBody>
      </p:sp>
      <p:sp>
        <p:nvSpPr>
          <p:cNvPr id="15" name="RbLeanShape Arrow Option 1 3">
            <a:extLst>
              <a:ext uri="{FF2B5EF4-FFF2-40B4-BE49-F238E27FC236}">
                <a16:creationId xmlns:a16="http://schemas.microsoft.com/office/drawing/2014/main" id="{99A08A1F-5964-47B9-8B77-77EED502C3DC}"/>
              </a:ext>
            </a:extLst>
          </p:cNvPr>
          <p:cNvSpPr/>
          <p:nvPr/>
        </p:nvSpPr>
        <p:spPr>
          <a:xfrm>
            <a:off x="1575189"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8C564B"/>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solidFill>
                  <a:schemeClr val="bg1"/>
                </a:solidFill>
              </a:rPr>
              <a:t>    Elementary</a:t>
            </a:r>
          </a:p>
        </p:txBody>
      </p:sp>
      <p:sp>
        <p:nvSpPr>
          <p:cNvPr id="3" name="RbLeanShape Arrow Option 1 3">
            <a:extLst>
              <a:ext uri="{FF2B5EF4-FFF2-40B4-BE49-F238E27FC236}">
                <a16:creationId xmlns:a16="http://schemas.microsoft.com/office/drawing/2014/main" id="{1F9C6959-D3D5-45A9-B077-695D0ECC37DA}"/>
              </a:ext>
            </a:extLst>
          </p:cNvPr>
          <p:cNvSpPr/>
          <p:nvPr/>
        </p:nvSpPr>
        <p:spPr>
          <a:xfrm>
            <a:off x="736600"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1F77B4"/>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solidFill>
                  <a:schemeClr val="bg1"/>
                </a:solidFill>
              </a:rPr>
              <a:t>   New Zeeland</a:t>
            </a:r>
          </a:p>
        </p:txBody>
      </p:sp>
      <p:sp>
        <p:nvSpPr>
          <p:cNvPr id="20" name="RBContent11">
            <a:extLst>
              <a:ext uri="{FF2B5EF4-FFF2-40B4-BE49-F238E27FC236}">
                <a16:creationId xmlns:a16="http://schemas.microsoft.com/office/drawing/2014/main" id="{8E6DD336-9439-4299-BE00-06229021FF55}"/>
              </a:ext>
            </a:extLst>
          </p:cNvPr>
          <p:cNvSpPr txBox="1">
            <a:spLocks/>
          </p:cNvSpPr>
          <p:nvPr/>
        </p:nvSpPr>
        <p:spPr>
          <a:xfrm>
            <a:off x="3376439" y="4231462"/>
            <a:ext cx="829031" cy="2354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700" b="0" dirty="0">
                <a:latin typeface="+mj-lt"/>
                <a:sym typeface="+mn-lt"/>
              </a:rPr>
              <a:t>3.36%</a:t>
            </a:r>
            <a:endParaRPr lang="en-US" sz="1700" b="0" dirty="0">
              <a:latin typeface="+mj-lt"/>
              <a:sym typeface="+mn-lt"/>
            </a:endParaRPr>
          </a:p>
        </p:txBody>
      </p:sp>
    </p:spTree>
    <p:extLst>
      <p:ext uri="{BB962C8B-B14F-4D97-AF65-F5344CB8AC3E}">
        <p14:creationId xmlns:p14="http://schemas.microsoft.com/office/powerpoint/2010/main" val="589285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3681698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5"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World </a:t>
            </a:r>
            <a:r>
              <a:rPr lang="hu-HU" sz="2100" b="0" dirty="0" err="1">
                <a:solidFill>
                  <a:schemeClr val="tx2"/>
                </a:solidFill>
                <a:latin typeface="+mn-lt"/>
                <a:cs typeface="+mn-cs"/>
                <a:sym typeface="+mn-lt"/>
              </a:rPr>
              <a:t>ranking</a:t>
            </a:r>
            <a:r>
              <a:rPr lang="hu-HU" sz="2100" b="0" dirty="0">
                <a:solidFill>
                  <a:schemeClr val="tx2"/>
                </a:solidFill>
                <a:latin typeface="+mn-lt"/>
                <a:cs typeface="+mn-cs"/>
                <a:sym typeface="+mn-lt"/>
              </a:rPr>
              <a:t> of </a:t>
            </a:r>
            <a:r>
              <a:rPr lang="hu-HU" sz="2100" b="0" dirty="0" err="1">
                <a:solidFill>
                  <a:schemeClr val="tx2"/>
                </a:solidFill>
                <a:latin typeface="+mn-lt"/>
                <a:cs typeface="+mn-cs"/>
                <a:sym typeface="+mn-lt"/>
              </a:rPr>
              <a:t>universities</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by</a:t>
            </a:r>
            <a:r>
              <a:rPr lang="hu-HU" sz="2100" b="0" dirty="0">
                <a:solidFill>
                  <a:schemeClr val="tx2"/>
                </a:solidFill>
                <a:latin typeface="+mn-lt"/>
                <a:cs typeface="+mn-cs"/>
                <a:sym typeface="+mn-lt"/>
              </a:rPr>
              <a:t> % of </a:t>
            </a:r>
            <a:r>
              <a:rPr lang="hu-HU" sz="2100" b="0" dirty="0" err="1">
                <a:solidFill>
                  <a:schemeClr val="tx2"/>
                </a:solidFill>
                <a:latin typeface="+mn-lt"/>
                <a:cs typeface="+mn-cs"/>
                <a:sym typeface="+mn-lt"/>
              </a:rPr>
              <a:t>international</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students</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830997"/>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The bar chart shows that universities with higher % of international students tend to have higher rankings</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C51FE945-F1AB-4516-9F57-C4A7A05A6EFB}"/>
              </a:ext>
            </a:extLst>
          </p:cNvPr>
          <p:cNvPicPr>
            <a:picLocks noChangeAspect="1"/>
          </p:cNvPicPr>
          <p:nvPr/>
        </p:nvPicPr>
        <p:blipFill>
          <a:blip r:embed="rId6"/>
          <a:stretch>
            <a:fillRect/>
          </a:stretch>
        </p:blipFill>
        <p:spPr>
          <a:xfrm>
            <a:off x="840152" y="2315900"/>
            <a:ext cx="5518789" cy="4152401"/>
          </a:xfrm>
          <a:prstGeom prst="rect">
            <a:avLst/>
          </a:prstGeom>
        </p:spPr>
      </p:pic>
      <p:sp>
        <p:nvSpPr>
          <p:cNvPr id="45" name="RBContent11">
            <a:extLst>
              <a:ext uri="{FF2B5EF4-FFF2-40B4-BE49-F238E27FC236}">
                <a16:creationId xmlns:a16="http://schemas.microsoft.com/office/drawing/2014/main" id="{59D99F71-625A-4093-A292-300698727B3B}"/>
              </a:ext>
            </a:extLst>
          </p:cNvPr>
          <p:cNvSpPr txBox="1">
            <a:spLocks/>
          </p:cNvSpPr>
          <p:nvPr/>
        </p:nvSpPr>
        <p:spPr>
          <a:xfrm>
            <a:off x="3050773" y="6260552"/>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University </a:t>
            </a:r>
            <a:r>
              <a:rPr lang="hu-HU" sz="1500" b="0" dirty="0" err="1">
                <a:latin typeface="+mj-lt"/>
                <a:sym typeface="+mn-lt"/>
              </a:rPr>
              <a:t>ranking</a:t>
            </a:r>
            <a:r>
              <a:rPr lang="hu-HU" sz="1500" b="0" dirty="0">
                <a:latin typeface="+mj-lt"/>
                <a:sym typeface="+mn-lt"/>
              </a:rPr>
              <a:t> [</a:t>
            </a:r>
            <a:r>
              <a:rPr lang="hu-HU" sz="1500" b="0" dirty="0" err="1">
                <a:latin typeface="+mj-lt"/>
                <a:sym typeface="+mn-lt"/>
              </a:rPr>
              <a:t>bins</a:t>
            </a:r>
            <a:r>
              <a:rPr lang="hu-HU" sz="1500" b="0" dirty="0">
                <a:latin typeface="+mj-lt"/>
                <a:sym typeface="+mn-lt"/>
              </a:rPr>
              <a:t>]</a:t>
            </a:r>
            <a:endParaRPr lang="en-US" sz="1500" b="0" dirty="0">
              <a:latin typeface="+mj-lt"/>
              <a:sym typeface="+mn-lt"/>
            </a:endParaRPr>
          </a:p>
        </p:txBody>
      </p:sp>
      <p:sp>
        <p:nvSpPr>
          <p:cNvPr id="48" name="RBContent11">
            <a:extLst>
              <a:ext uri="{FF2B5EF4-FFF2-40B4-BE49-F238E27FC236}">
                <a16:creationId xmlns:a16="http://schemas.microsoft.com/office/drawing/2014/main" id="{D9B4BF17-BE2B-4457-A3A8-528232D14F55}"/>
              </a:ext>
            </a:extLst>
          </p:cNvPr>
          <p:cNvSpPr txBox="1">
            <a:spLocks/>
          </p:cNvSpPr>
          <p:nvPr/>
        </p:nvSpPr>
        <p:spPr>
          <a:xfrm rot="16200000">
            <a:off x="-28575" y="3932451"/>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 of </a:t>
            </a:r>
            <a:r>
              <a:rPr lang="hu-HU" sz="1500" b="0" dirty="0" err="1">
                <a:latin typeface="+mj-lt"/>
                <a:sym typeface="+mn-lt"/>
              </a:rPr>
              <a:t>international</a:t>
            </a:r>
            <a:r>
              <a:rPr lang="hu-HU" sz="1500" b="0" dirty="0">
                <a:latin typeface="+mj-lt"/>
                <a:sym typeface="+mn-lt"/>
              </a:rPr>
              <a:t> </a:t>
            </a:r>
            <a:r>
              <a:rPr lang="hu-HU" sz="1500" b="0" dirty="0" err="1">
                <a:latin typeface="+mj-lt"/>
                <a:sym typeface="+mn-lt"/>
              </a:rPr>
              <a:t>students</a:t>
            </a:r>
            <a:endParaRPr lang="en-US" sz="1500" b="0" dirty="0">
              <a:latin typeface="+mj-lt"/>
              <a:sym typeface="+mn-lt"/>
            </a:endParaRPr>
          </a:p>
        </p:txBody>
      </p:sp>
      <p:sp>
        <p:nvSpPr>
          <p:cNvPr id="49" name="RbNavigator">
            <a:extLst>
              <a:ext uri="{FF2B5EF4-FFF2-40B4-BE49-F238E27FC236}">
                <a16:creationId xmlns:a16="http://schemas.microsoft.com/office/drawing/2014/main" id="{45FAA49C-41D0-4AE4-9978-DE0E73C71159}"/>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50" name="RbSticker">
            <a:extLst>
              <a:ext uri="{FF2B5EF4-FFF2-40B4-BE49-F238E27FC236}">
                <a16:creationId xmlns:a16="http://schemas.microsoft.com/office/drawing/2014/main" id="{A11CF327-E3FD-41A9-AC95-287E91A4D0D7}"/>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Tree>
    <p:extLst>
      <p:ext uri="{BB962C8B-B14F-4D97-AF65-F5344CB8AC3E}">
        <p14:creationId xmlns:p14="http://schemas.microsoft.com/office/powerpoint/2010/main" val="3289412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World ranking of universities by % of </a:t>
            </a:r>
            <a:r>
              <a:rPr lang="en-US" sz="2100" b="0" dirty="0">
                <a:solidFill>
                  <a:schemeClr val="tx2"/>
                </a:solidFill>
                <a:latin typeface="+mn-lt"/>
                <a:cs typeface="+mn-cs"/>
                <a:sym typeface="+mn-lt"/>
              </a:rPr>
              <a:t>female s</a:t>
            </a:r>
            <a:r>
              <a:rPr lang="hu-HU" sz="2100" b="0" dirty="0">
                <a:solidFill>
                  <a:schemeClr val="tx2"/>
                </a:solidFill>
                <a:latin typeface="+mn-lt"/>
                <a:cs typeface="+mn-cs"/>
                <a:sym typeface="+mn-lt"/>
              </a:rPr>
              <a:t>tudents</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623248"/>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No clear relationship demonstrated between the two variables</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45" name="RBContent11">
            <a:extLst>
              <a:ext uri="{FF2B5EF4-FFF2-40B4-BE49-F238E27FC236}">
                <a16:creationId xmlns:a16="http://schemas.microsoft.com/office/drawing/2014/main" id="{59D99F71-625A-4093-A292-300698727B3B}"/>
              </a:ext>
            </a:extLst>
          </p:cNvPr>
          <p:cNvSpPr txBox="1">
            <a:spLocks/>
          </p:cNvSpPr>
          <p:nvPr/>
        </p:nvSpPr>
        <p:spPr>
          <a:xfrm>
            <a:off x="3050773" y="6260552"/>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University </a:t>
            </a:r>
            <a:r>
              <a:rPr lang="hu-HU" sz="1500" b="0" dirty="0" err="1">
                <a:latin typeface="+mj-lt"/>
                <a:sym typeface="+mn-lt"/>
              </a:rPr>
              <a:t>ranking</a:t>
            </a:r>
            <a:r>
              <a:rPr lang="hu-HU" sz="1500" b="0" dirty="0">
                <a:latin typeface="+mj-lt"/>
                <a:sym typeface="+mn-lt"/>
              </a:rPr>
              <a:t> [</a:t>
            </a:r>
            <a:r>
              <a:rPr lang="hu-HU" sz="1500" b="0" dirty="0" err="1">
                <a:latin typeface="+mj-lt"/>
                <a:sym typeface="+mn-lt"/>
              </a:rPr>
              <a:t>bins</a:t>
            </a:r>
            <a:r>
              <a:rPr lang="hu-HU" sz="1500" b="0" dirty="0">
                <a:latin typeface="+mj-lt"/>
                <a:sym typeface="+mn-lt"/>
              </a:rPr>
              <a:t>]</a:t>
            </a:r>
            <a:endParaRPr lang="en-US" sz="1500" b="0" dirty="0">
              <a:latin typeface="+mj-lt"/>
              <a:sym typeface="+mn-lt"/>
            </a:endParaRPr>
          </a:p>
        </p:txBody>
      </p:sp>
      <p:sp>
        <p:nvSpPr>
          <p:cNvPr id="48" name="RBContent11">
            <a:extLst>
              <a:ext uri="{FF2B5EF4-FFF2-40B4-BE49-F238E27FC236}">
                <a16:creationId xmlns:a16="http://schemas.microsoft.com/office/drawing/2014/main" id="{D9B4BF17-BE2B-4457-A3A8-528232D14F55}"/>
              </a:ext>
            </a:extLst>
          </p:cNvPr>
          <p:cNvSpPr txBox="1">
            <a:spLocks/>
          </p:cNvSpPr>
          <p:nvPr/>
        </p:nvSpPr>
        <p:spPr>
          <a:xfrm rot="16200000">
            <a:off x="-28575" y="3932451"/>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 of </a:t>
            </a:r>
            <a:r>
              <a:rPr lang="hu-HU" sz="1500" b="0" dirty="0" err="1">
                <a:latin typeface="+mj-lt"/>
                <a:sym typeface="+mn-lt"/>
              </a:rPr>
              <a:t>international</a:t>
            </a:r>
            <a:r>
              <a:rPr lang="hu-HU" sz="1500" b="0" dirty="0">
                <a:latin typeface="+mj-lt"/>
                <a:sym typeface="+mn-lt"/>
              </a:rPr>
              <a:t> </a:t>
            </a:r>
            <a:r>
              <a:rPr lang="hu-HU" sz="1500" b="0" dirty="0" err="1">
                <a:latin typeface="+mj-lt"/>
                <a:sym typeface="+mn-lt"/>
              </a:rPr>
              <a:t>students</a:t>
            </a:r>
            <a:endParaRPr lang="en-US" sz="1500" b="0" dirty="0">
              <a:latin typeface="+mj-lt"/>
              <a:sym typeface="+mn-lt"/>
            </a:endParaRPr>
          </a:p>
        </p:txBody>
      </p:sp>
      <p:sp>
        <p:nvSpPr>
          <p:cNvPr id="49" name="RbNavigator">
            <a:extLst>
              <a:ext uri="{FF2B5EF4-FFF2-40B4-BE49-F238E27FC236}">
                <a16:creationId xmlns:a16="http://schemas.microsoft.com/office/drawing/2014/main" id="{45FAA49C-41D0-4AE4-9978-DE0E73C71159}"/>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50" name="RbSticker">
            <a:extLst>
              <a:ext uri="{FF2B5EF4-FFF2-40B4-BE49-F238E27FC236}">
                <a16:creationId xmlns:a16="http://schemas.microsoft.com/office/drawing/2014/main" id="{A11CF327-E3FD-41A9-AC95-287E91A4D0D7}"/>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pic>
        <p:nvPicPr>
          <p:cNvPr id="6" name="Picture 5" descr="Chart, bar chart, histogram&#10;&#10;Description automatically generated">
            <a:extLst>
              <a:ext uri="{FF2B5EF4-FFF2-40B4-BE49-F238E27FC236}">
                <a16:creationId xmlns:a16="http://schemas.microsoft.com/office/drawing/2014/main" id="{DFB5179B-2DD8-4FF2-896E-40D597A3F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249328"/>
            <a:ext cx="6845829" cy="4266537"/>
          </a:xfrm>
          <a:prstGeom prst="rect">
            <a:avLst/>
          </a:prstGeom>
        </p:spPr>
      </p:pic>
    </p:spTree>
    <p:extLst>
      <p:ext uri="{BB962C8B-B14F-4D97-AF65-F5344CB8AC3E}">
        <p14:creationId xmlns:p14="http://schemas.microsoft.com/office/powerpoint/2010/main" val="3602073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9"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Total </a:t>
            </a:r>
            <a:r>
              <a:rPr lang="hu-HU" sz="2100" b="0" dirty="0" err="1">
                <a:solidFill>
                  <a:schemeClr val="tx2"/>
                </a:solidFill>
                <a:latin typeface="+mn-lt"/>
                <a:cs typeface="+mn-cs"/>
                <a:sym typeface="+mn-lt"/>
              </a:rPr>
              <a:t>scor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by</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R&amp;D</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expenditure</a:t>
            </a:r>
            <a:r>
              <a:rPr lang="hu-HU" sz="2100" b="0" dirty="0">
                <a:solidFill>
                  <a:schemeClr val="tx2"/>
                </a:solidFill>
                <a:latin typeface="+mn-lt"/>
                <a:cs typeface="+mn-cs"/>
                <a:sym typeface="+mn-lt"/>
              </a:rPr>
              <a:t> per country – </a:t>
            </a:r>
            <a:r>
              <a:rPr lang="hu-HU" sz="2100" b="0" dirty="0" err="1">
                <a:solidFill>
                  <a:schemeClr val="tx2"/>
                </a:solidFill>
                <a:latin typeface="+mn-lt"/>
                <a:cs typeface="+mn-cs"/>
                <a:sym typeface="+mn-lt"/>
              </a:rPr>
              <a:t>Scatterplot</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207749"/>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hu-HU" sz="1500" b="0" dirty="0" err="1">
                <a:latin typeface="+mj-lt"/>
                <a:sym typeface="+mn-lt"/>
              </a:rPr>
              <a:t>xxxx</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88618A89-65E5-45FC-A0FB-921966B1F23D}"/>
              </a:ext>
            </a:extLst>
          </p:cNvPr>
          <p:cNvPicPr>
            <a:picLocks noChangeAspect="1"/>
          </p:cNvPicPr>
          <p:nvPr/>
        </p:nvPicPr>
        <p:blipFill>
          <a:blip r:embed="rId6"/>
          <a:stretch>
            <a:fillRect/>
          </a:stretch>
        </p:blipFill>
        <p:spPr>
          <a:xfrm>
            <a:off x="736600" y="2252633"/>
            <a:ext cx="5909186" cy="4057631"/>
          </a:xfrm>
          <a:prstGeom prst="rect">
            <a:avLst/>
          </a:prstGeom>
        </p:spPr>
      </p:pic>
      <p:sp>
        <p:nvSpPr>
          <p:cNvPr id="12" name="RbNavigator">
            <a:extLst>
              <a:ext uri="{FF2B5EF4-FFF2-40B4-BE49-F238E27FC236}">
                <a16:creationId xmlns:a16="http://schemas.microsoft.com/office/drawing/2014/main" id="{4B7C4701-905A-4B5D-9488-D147A22C4170}"/>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13" name="RbSticker">
            <a:extLst>
              <a:ext uri="{FF2B5EF4-FFF2-40B4-BE49-F238E27FC236}">
                <a16:creationId xmlns:a16="http://schemas.microsoft.com/office/drawing/2014/main" id="{FA70E172-C6F1-4268-9155-D0C6C150CB1A}"/>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Tree>
    <p:extLst>
      <p:ext uri="{BB962C8B-B14F-4D97-AF65-F5344CB8AC3E}">
        <p14:creationId xmlns:p14="http://schemas.microsoft.com/office/powerpoint/2010/main" val="1720523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Total </a:t>
            </a:r>
            <a:r>
              <a:rPr lang="hu-HU" sz="2100" b="0" dirty="0" err="1">
                <a:solidFill>
                  <a:schemeClr val="tx2"/>
                </a:solidFill>
                <a:latin typeface="+mn-lt"/>
                <a:cs typeface="+mn-cs"/>
                <a:sym typeface="+mn-lt"/>
              </a:rPr>
              <a:t>scor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by</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R&amp;D</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expenditure</a:t>
            </a:r>
            <a:r>
              <a:rPr lang="hu-HU" sz="2100" b="0" dirty="0">
                <a:solidFill>
                  <a:schemeClr val="tx2"/>
                </a:solidFill>
                <a:latin typeface="+mn-lt"/>
                <a:cs typeface="+mn-cs"/>
                <a:sym typeface="+mn-lt"/>
              </a:rPr>
              <a:t> per country – </a:t>
            </a:r>
            <a:r>
              <a:rPr lang="hu-HU" sz="2100" b="0" dirty="0" err="1">
                <a:solidFill>
                  <a:schemeClr val="tx2"/>
                </a:solidFill>
                <a:latin typeface="+mn-lt"/>
                <a:cs typeface="+mn-cs"/>
                <a:sym typeface="+mn-lt"/>
              </a:rPr>
              <a:t>Linear</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regression</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xxx</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207749"/>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hu-HU" sz="1500" b="0" dirty="0" err="1">
                <a:latin typeface="+mj-lt"/>
                <a:sym typeface="+mn-lt"/>
              </a:rPr>
              <a:t>xxxx</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3" name="Picture 2">
            <a:extLst>
              <a:ext uri="{FF2B5EF4-FFF2-40B4-BE49-F238E27FC236}">
                <a16:creationId xmlns:a16="http://schemas.microsoft.com/office/drawing/2014/main" id="{2A6E78AB-6A03-4516-AABB-F9B74CA620D4}"/>
              </a:ext>
            </a:extLst>
          </p:cNvPr>
          <p:cNvPicPr>
            <a:picLocks noChangeAspect="1"/>
          </p:cNvPicPr>
          <p:nvPr/>
        </p:nvPicPr>
        <p:blipFill>
          <a:blip r:embed="rId6"/>
          <a:stretch>
            <a:fillRect/>
          </a:stretch>
        </p:blipFill>
        <p:spPr>
          <a:xfrm>
            <a:off x="665162" y="2285903"/>
            <a:ext cx="6189658" cy="3290490"/>
          </a:xfrm>
          <a:prstGeom prst="rect">
            <a:avLst/>
          </a:prstGeom>
        </p:spPr>
      </p:pic>
      <p:sp>
        <p:nvSpPr>
          <p:cNvPr id="13" name="RbNavigator">
            <a:extLst>
              <a:ext uri="{FF2B5EF4-FFF2-40B4-BE49-F238E27FC236}">
                <a16:creationId xmlns:a16="http://schemas.microsoft.com/office/drawing/2014/main" id="{E5A711D9-D248-4CE4-A8AC-9BB76CE74DD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14" name="RbSticker">
            <a:extLst>
              <a:ext uri="{FF2B5EF4-FFF2-40B4-BE49-F238E27FC236}">
                <a16:creationId xmlns:a16="http://schemas.microsoft.com/office/drawing/2014/main" id="{7CB8E5C9-CE8B-4C20-A516-AEF441006EC4}"/>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Tree>
    <p:extLst>
      <p:ext uri="{BB962C8B-B14F-4D97-AF65-F5344CB8AC3E}">
        <p14:creationId xmlns:p14="http://schemas.microsoft.com/office/powerpoint/2010/main" val="3556966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1494697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3"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Our presentation will cover the goal of our research, the </a:t>
            </a:r>
            <a:r>
              <a:rPr lang="en-US" dirty="0" err="1"/>
              <a:t>ETL</a:t>
            </a:r>
            <a:r>
              <a:rPr lang="en-US" dirty="0"/>
              <a:t> pipeline we constructed, and the key results of our analysi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Agenda</a:t>
            </a:r>
          </a:p>
        </p:txBody>
      </p:sp>
      <p:sp>
        <p:nvSpPr>
          <p:cNvPr id="16" name="Slide Number Placeholder 1">
            <a:extLst>
              <a:ext uri="{FF2B5EF4-FFF2-40B4-BE49-F238E27FC236}">
                <a16:creationId xmlns:a16="http://schemas.microsoft.com/office/drawing/2014/main" id="{FA0AA0AB-C7AD-4326-83B7-3ABC96D463B3}"/>
              </a:ext>
            </a:extLst>
          </p:cNvPr>
          <p:cNvSpPr>
            <a:spLocks noGrp="1"/>
          </p:cNvSpPr>
          <p:nvPr>
            <p:ph type="sldNum" sz="quarter" idx="11"/>
          </p:nvPr>
        </p:nvSpPr>
        <p:spPr>
          <a:xfrm>
            <a:off x="9972000" y="178643"/>
            <a:ext cx="11222" cy="30778"/>
          </a:xfrm>
        </p:spPr>
        <p:txBody>
          <a:bodyPr/>
          <a:lstStyle/>
          <a:p>
            <a:fld id="{01940DDA-0656-452C-A408-68789653BD9B}" type="slidenum">
              <a:rPr lang="en-US" smtClean="0"/>
              <a:pPr/>
              <a:t>2</a:t>
            </a:fld>
            <a:endParaRPr lang="en-US" dirty="0"/>
          </a:p>
        </p:txBody>
      </p:sp>
      <p:sp>
        <p:nvSpPr>
          <p:cNvPr id="20" name="TextBox 19">
            <a:extLst>
              <a:ext uri="{FF2B5EF4-FFF2-40B4-BE49-F238E27FC236}">
                <a16:creationId xmlns:a16="http://schemas.microsoft.com/office/drawing/2014/main" id="{C8AB731D-8202-4826-B02B-6273E1BB4A11}"/>
              </a:ext>
            </a:extLst>
          </p:cNvPr>
          <p:cNvSpPr txBox="1"/>
          <p:nvPr/>
        </p:nvSpPr>
        <p:spPr>
          <a:xfrm>
            <a:off x="738001" y="2074845"/>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A</a:t>
            </a:r>
          </a:p>
        </p:txBody>
      </p:sp>
      <p:sp>
        <p:nvSpPr>
          <p:cNvPr id="21" name="Joined 3">
            <a:extLst>
              <a:ext uri="{FF2B5EF4-FFF2-40B4-BE49-F238E27FC236}">
                <a16:creationId xmlns:a16="http://schemas.microsoft.com/office/drawing/2014/main" id="{F5E92ADD-10C0-4906-B69C-E8AE7300496F}"/>
              </a:ext>
            </a:extLst>
          </p:cNvPr>
          <p:cNvSpPr txBox="1">
            <a:spLocks/>
          </p:cNvSpPr>
          <p:nvPr/>
        </p:nvSpPr>
        <p:spPr>
          <a:xfrm>
            <a:off x="3371160" y="2194352"/>
            <a:ext cx="5902827" cy="83663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a:latin typeface="+mn-lt"/>
                <a:cs typeface="Arial Narrow" pitchFamily="34" charset="0"/>
              </a:rPr>
              <a:t>Goals and data collected</a:t>
            </a:r>
          </a:p>
          <a:p>
            <a:pPr marL="186514" lvl="1" indent="-186514">
              <a:lnSpc>
                <a:spcPct val="90000"/>
              </a:lnSpc>
              <a:spcBef>
                <a:spcPts val="400"/>
              </a:spcBef>
              <a:buSzPct val="100000"/>
              <a:buFont typeface="Arial Narrow" panose="020B0606020202030204" pitchFamily="34" charset="0"/>
              <a:buChar char="&gt;"/>
            </a:pPr>
            <a:r>
              <a:rPr lang="en-US" altLang="zh-HK" sz="1700" b="0" dirty="0">
                <a:latin typeface="+mn-lt"/>
                <a:cs typeface="Arial Narrow" pitchFamily="34" charset="0"/>
              </a:rPr>
              <a:t>The topic and main goal with the project</a:t>
            </a:r>
          </a:p>
          <a:p>
            <a:pPr marL="186514" lvl="1" indent="-186514">
              <a:lnSpc>
                <a:spcPct val="90000"/>
              </a:lnSpc>
              <a:spcBef>
                <a:spcPts val="400"/>
              </a:spcBef>
              <a:buSzPct val="100000"/>
              <a:buFont typeface="Arial Narrow" panose="020B0606020202030204" pitchFamily="34" charset="0"/>
              <a:buChar char="&gt;"/>
            </a:pPr>
            <a:r>
              <a:rPr lang="en-US" sz="1700" b="0" noProof="0" dirty="0">
                <a:latin typeface="+mn-lt"/>
                <a:cs typeface="Arial Narrow" pitchFamily="34" charset="0"/>
              </a:rPr>
              <a:t>Data collected to analysis the question</a:t>
            </a:r>
          </a:p>
        </p:txBody>
      </p:sp>
      <p:sp>
        <p:nvSpPr>
          <p:cNvPr id="24" name="TextBox 23">
            <a:extLst>
              <a:ext uri="{FF2B5EF4-FFF2-40B4-BE49-F238E27FC236}">
                <a16:creationId xmlns:a16="http://schemas.microsoft.com/office/drawing/2014/main" id="{0777FE22-67FA-4C3A-AE4C-D65B8216EB36}"/>
              </a:ext>
            </a:extLst>
          </p:cNvPr>
          <p:cNvSpPr txBox="1"/>
          <p:nvPr/>
        </p:nvSpPr>
        <p:spPr>
          <a:xfrm>
            <a:off x="738001" y="3551111"/>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B</a:t>
            </a:r>
          </a:p>
        </p:txBody>
      </p:sp>
      <p:sp>
        <p:nvSpPr>
          <p:cNvPr id="25" name="Joined 3">
            <a:extLst>
              <a:ext uri="{FF2B5EF4-FFF2-40B4-BE49-F238E27FC236}">
                <a16:creationId xmlns:a16="http://schemas.microsoft.com/office/drawing/2014/main" id="{7779BD54-9488-4A28-9E15-8ADFD51302BE}"/>
              </a:ext>
            </a:extLst>
          </p:cNvPr>
          <p:cNvSpPr txBox="1">
            <a:spLocks/>
          </p:cNvSpPr>
          <p:nvPr/>
        </p:nvSpPr>
        <p:spPr>
          <a:xfrm>
            <a:off x="3371160" y="3670618"/>
            <a:ext cx="5902827" cy="1123384"/>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err="1">
                <a:latin typeface="+mn-lt"/>
                <a:cs typeface="Arial Narrow" pitchFamily="34" charset="0"/>
              </a:rPr>
              <a:t>ETL</a:t>
            </a:r>
            <a:r>
              <a:rPr lang="en-US" altLang="zh-HK" sz="1900" dirty="0">
                <a:latin typeface="+mn-lt"/>
                <a:cs typeface="Arial Narrow" pitchFamily="34" charset="0"/>
              </a:rPr>
              <a:t> workflow in MySQL and </a:t>
            </a:r>
            <a:r>
              <a:rPr lang="en-US" altLang="zh-HK" sz="1900" dirty="0" err="1">
                <a:latin typeface="+mn-lt"/>
                <a:cs typeface="Arial Narrow" pitchFamily="34" charset="0"/>
              </a:rPr>
              <a:t>Knime</a:t>
            </a:r>
            <a:endParaRPr lang="en-US" altLang="zh-HK" sz="1900" dirty="0">
              <a:latin typeface="+mn-lt"/>
              <a:cs typeface="Arial Narrow" pitchFamily="34" charset="0"/>
            </a:endParaRPr>
          </a:p>
          <a:p>
            <a:pPr marL="186514" lvl="1" indent="-186514">
              <a:lnSpc>
                <a:spcPct val="90000"/>
              </a:lnSpc>
              <a:spcBef>
                <a:spcPts val="400"/>
              </a:spcBef>
              <a:buSzPct val="100000"/>
              <a:buFont typeface="Arial Narrow" panose="020B0606020202030204" pitchFamily="34" charset="0"/>
              <a:buChar char="&gt;"/>
            </a:pPr>
            <a:r>
              <a:rPr lang="en-US" altLang="zh-HK" sz="1700" b="0" dirty="0">
                <a:latin typeface="+mn-lt"/>
                <a:cs typeface="Arial Narrow" pitchFamily="34" charset="0"/>
              </a:rPr>
              <a:t>Creating the datawarehouse</a:t>
            </a:r>
          </a:p>
          <a:p>
            <a:pPr marL="186514" lvl="1" indent="-186514">
              <a:lnSpc>
                <a:spcPct val="90000"/>
              </a:lnSpc>
              <a:spcBef>
                <a:spcPts val="400"/>
              </a:spcBef>
              <a:buSzPct val="100000"/>
              <a:buFont typeface="Arial Narrow" panose="020B0606020202030204" pitchFamily="34" charset="0"/>
              <a:buChar char="&gt;"/>
            </a:pPr>
            <a:r>
              <a:rPr lang="en-US" sz="1700" b="0" noProof="0" dirty="0">
                <a:latin typeface="+mn-lt"/>
                <a:cs typeface="Arial Narrow" pitchFamily="34" charset="0"/>
              </a:rPr>
              <a:t>Cleaning the data warehouse</a:t>
            </a:r>
          </a:p>
          <a:p>
            <a:pPr marL="186514" lvl="1" indent="-186514">
              <a:lnSpc>
                <a:spcPct val="90000"/>
              </a:lnSpc>
              <a:spcBef>
                <a:spcPts val="400"/>
              </a:spcBef>
              <a:buSzPct val="100000"/>
              <a:buFont typeface="Arial Narrow" panose="020B0606020202030204" pitchFamily="34" charset="0"/>
              <a:buChar char="&gt;"/>
            </a:pPr>
            <a:r>
              <a:rPr lang="en-US" sz="1700" b="0" dirty="0">
                <a:latin typeface="+mn-lt"/>
                <a:cs typeface="Arial Narrow" pitchFamily="34" charset="0"/>
              </a:rPr>
              <a:t>Enriching with additional data</a:t>
            </a:r>
            <a:endParaRPr lang="en-US" sz="1700" b="0" noProof="0" dirty="0">
              <a:latin typeface="+mn-lt"/>
              <a:cs typeface="Arial Narrow" pitchFamily="34" charset="0"/>
            </a:endParaRPr>
          </a:p>
        </p:txBody>
      </p:sp>
      <p:sp>
        <p:nvSpPr>
          <p:cNvPr id="28" name="TextBox 27">
            <a:extLst>
              <a:ext uri="{FF2B5EF4-FFF2-40B4-BE49-F238E27FC236}">
                <a16:creationId xmlns:a16="http://schemas.microsoft.com/office/drawing/2014/main" id="{E37B7FA8-F637-4CDE-A58D-1CB2885478A9}"/>
              </a:ext>
            </a:extLst>
          </p:cNvPr>
          <p:cNvSpPr txBox="1"/>
          <p:nvPr/>
        </p:nvSpPr>
        <p:spPr>
          <a:xfrm>
            <a:off x="738001" y="5027377"/>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C</a:t>
            </a:r>
          </a:p>
        </p:txBody>
      </p:sp>
      <p:sp>
        <p:nvSpPr>
          <p:cNvPr id="29" name="Joined 3">
            <a:extLst>
              <a:ext uri="{FF2B5EF4-FFF2-40B4-BE49-F238E27FC236}">
                <a16:creationId xmlns:a16="http://schemas.microsoft.com/office/drawing/2014/main" id="{BCCE550D-4F34-4418-8251-3E4DD25B4715}"/>
              </a:ext>
            </a:extLst>
          </p:cNvPr>
          <p:cNvSpPr txBox="1">
            <a:spLocks/>
          </p:cNvSpPr>
          <p:nvPr/>
        </p:nvSpPr>
        <p:spPr>
          <a:xfrm>
            <a:off x="3371160" y="5146884"/>
            <a:ext cx="5902827" cy="1123384"/>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a:latin typeface="+mn-lt"/>
                <a:cs typeface="Arial Narrow" pitchFamily="34" charset="0"/>
              </a:rPr>
              <a:t>Overview of key results</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Visualizations created</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Preliminary data analysis done</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Summary of main findings and conclusions</a:t>
            </a:r>
          </a:p>
        </p:txBody>
      </p:sp>
      <p:pic>
        <p:nvPicPr>
          <p:cNvPr id="86031" name="Picture 15" descr="Roter Pfeil Bewegt Sich Über Graph Papier Hintergrund Stockfoto und mehr  Bilder von Grafik - iStock">
            <a:extLst>
              <a:ext uri="{FF2B5EF4-FFF2-40B4-BE49-F238E27FC236}">
                <a16:creationId xmlns:a16="http://schemas.microsoft.com/office/drawing/2014/main" id="{C8349153-F004-47EF-8B31-B6303D1AB9F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74407" y="5146884"/>
            <a:ext cx="1864629" cy="1290897"/>
          </a:xfrm>
          <a:prstGeom prst="rect">
            <a:avLst/>
          </a:prstGeom>
          <a:noFill/>
          <a:extLst>
            <a:ext uri="{909E8E84-426E-40DD-AFC4-6F175D3DCCD1}">
              <a14:hiddenFill xmlns:a14="http://schemas.microsoft.com/office/drawing/2010/main">
                <a:solidFill>
                  <a:srgbClr val="FFFFFF"/>
                </a:solidFill>
              </a14:hiddenFill>
            </a:ext>
          </a:extLst>
        </p:spPr>
      </p:pic>
      <p:pic>
        <p:nvPicPr>
          <p:cNvPr id="86033" name="Picture 17" descr="201,648 Mathematics Numbers Stock Photos, Pictures &amp;amp; Royalty-Free Images -  iStock">
            <a:extLst>
              <a:ext uri="{FF2B5EF4-FFF2-40B4-BE49-F238E27FC236}">
                <a16:creationId xmlns:a16="http://schemas.microsoft.com/office/drawing/2014/main" id="{A68F98BF-E089-42F8-B31D-8C0849FE7DDD}"/>
              </a:ext>
            </a:extLst>
          </p:cNvPr>
          <p:cNvPicPr>
            <a:picLocks noChangeArrowheads="1"/>
          </p:cNvPicPr>
          <p:nvPr/>
        </p:nvPicPr>
        <p:blipFill rotWithShape="1">
          <a:blip r:embed="rId9" cstate="print">
            <a:extLst>
              <a:ext uri="{28A0092B-C50C-407E-A947-70E740481C1C}">
                <a14:useLocalDpi xmlns:a14="http://schemas.microsoft.com/office/drawing/2010/main" val="0"/>
              </a:ext>
            </a:extLst>
          </a:blip>
          <a:srcRect t="3846" b="3846"/>
          <a:stretch/>
        </p:blipFill>
        <p:spPr bwMode="auto">
          <a:xfrm>
            <a:off x="1374407" y="3670618"/>
            <a:ext cx="1864629" cy="1290897"/>
          </a:xfrm>
          <a:prstGeom prst="rect">
            <a:avLst/>
          </a:prstGeom>
          <a:noFill/>
          <a:extLst>
            <a:ext uri="{909E8E84-426E-40DD-AFC4-6F175D3DCCD1}">
              <a14:hiddenFill xmlns:a14="http://schemas.microsoft.com/office/drawing/2010/main">
                <a:solidFill>
                  <a:srgbClr val="FFFFFF"/>
                </a:solidFill>
              </a14:hiddenFill>
            </a:ext>
          </a:extLst>
        </p:spPr>
      </p:pic>
      <p:pic>
        <p:nvPicPr>
          <p:cNvPr id="86035" name="Picture 19" descr="Science Says Only 8 Percent of People Actually Achieve Their Goals. Here  Are 7 Things They Do Differently | Inc.com">
            <a:extLst>
              <a:ext uri="{FF2B5EF4-FFF2-40B4-BE49-F238E27FC236}">
                <a16:creationId xmlns:a16="http://schemas.microsoft.com/office/drawing/2014/main" id="{5C449368-9FC2-41DA-A7D3-3F1446F6BCFF}"/>
              </a:ext>
            </a:extLst>
          </p:cNvPr>
          <p:cNvPicPr>
            <a:picLocks noChangeArrowheads="1"/>
          </p:cNvPicPr>
          <p:nvPr/>
        </p:nvPicPr>
        <p:blipFill rotWithShape="1">
          <a:blip r:embed="rId10" cstate="print">
            <a:extLst>
              <a:ext uri="{28A0092B-C50C-407E-A947-70E740481C1C}">
                <a14:useLocalDpi xmlns:a14="http://schemas.microsoft.com/office/drawing/2010/main" val="0"/>
              </a:ext>
            </a:extLst>
          </a:blip>
          <a:srcRect l="9375" r="9375"/>
          <a:stretch/>
        </p:blipFill>
        <p:spPr bwMode="auto">
          <a:xfrm>
            <a:off x="1374407" y="2194352"/>
            <a:ext cx="1864629" cy="1290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35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746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0"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a:t>
            </a:r>
            <a:r>
              <a:rPr lang="hu-HU" dirty="0"/>
              <a:t>November</a:t>
            </a:r>
            <a:endParaRPr lang="en-US" dirty="0"/>
          </a:p>
        </p:txBody>
      </p:sp>
      <p:sp>
        <p:nvSpPr>
          <p:cNvPr id="2" name="Title 1"/>
          <p:cNvSpPr>
            <a:spLocks noGrp="1"/>
          </p:cNvSpPr>
          <p:nvPr>
            <p:ph type="title"/>
          </p:nvPr>
        </p:nvSpPr>
        <p:spPr>
          <a:xfrm>
            <a:off x="0" y="3274066"/>
            <a:ext cx="3611301" cy="1107996"/>
          </a:xfrm>
        </p:spPr>
        <p:txBody>
          <a:bodyPr vert="horz"/>
          <a:lstStyle/>
          <a:p>
            <a:r>
              <a:rPr lang="hu-HU" dirty="0"/>
              <a:t>1. </a:t>
            </a:r>
            <a:r>
              <a:rPr lang="en-US" altLang="zh-HK" sz="4000" dirty="0">
                <a:cs typeface="Arial Narrow" pitchFamily="34" charset="0"/>
              </a:rPr>
              <a:t>Goal</a:t>
            </a:r>
            <a:r>
              <a:rPr lang="hu-HU" altLang="zh-HK" sz="4000" dirty="0">
                <a:cs typeface="Arial Narrow" pitchFamily="34" charset="0"/>
              </a:rPr>
              <a:t>s</a:t>
            </a:r>
            <a:r>
              <a:rPr lang="en-US" altLang="zh-HK" sz="4000" dirty="0">
                <a:cs typeface="Arial Narrow" pitchFamily="34" charset="0"/>
              </a:rPr>
              <a:t> and data collected</a:t>
            </a:r>
            <a:endParaRPr lang="en-US" dirty="0"/>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356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81701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We collected data on higher education to do preliminary analysis on key attributes, e.g. ranking, R&amp;D spending and or ratio of female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Goals</a:t>
            </a:r>
          </a:p>
        </p:txBody>
      </p:sp>
      <p:sp>
        <p:nvSpPr>
          <p:cNvPr id="107" name="RbNavigator">
            <a:extLst>
              <a:ext uri="{FF2B5EF4-FFF2-40B4-BE49-F238E27FC236}">
                <a16:creationId xmlns:a16="http://schemas.microsoft.com/office/drawing/2014/main" id="{A73EFE3A-1803-4132-B2F5-C58AEB1DEBAC}"/>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
        <p:nvSpPr>
          <p:cNvPr id="108" name="RbSticker">
            <a:extLst>
              <a:ext uri="{FF2B5EF4-FFF2-40B4-BE49-F238E27FC236}">
                <a16:creationId xmlns:a16="http://schemas.microsoft.com/office/drawing/2014/main" id="{113C8EC2-993B-496B-8CC0-0FA719FE9419}"/>
              </a:ext>
            </a:extLst>
          </p:cNvPr>
          <p:cNvSpPr txBox="1"/>
          <p:nvPr/>
        </p:nvSpPr>
        <p:spPr>
          <a:xfrm>
            <a:off x="1081088" y="260349"/>
            <a:ext cx="160460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Goals and data collected</a:t>
            </a:r>
          </a:p>
        </p:txBody>
      </p:sp>
      <p:sp>
        <p:nvSpPr>
          <p:cNvPr id="109" name="Rectangle 108">
            <a:extLst>
              <a:ext uri="{FF2B5EF4-FFF2-40B4-BE49-F238E27FC236}">
                <a16:creationId xmlns:a16="http://schemas.microsoft.com/office/drawing/2014/main" id="{B88AEB3A-8E3E-4F72-8EE7-A558490D9FB8}"/>
              </a:ext>
            </a:extLst>
          </p:cNvPr>
          <p:cNvSpPr/>
          <p:nvPr/>
        </p:nvSpPr>
        <p:spPr>
          <a:xfrm>
            <a:off x="3484933" y="2857816"/>
            <a:ext cx="5789056" cy="3514122"/>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0" name="Oval 109">
            <a:extLst>
              <a:ext uri="{FF2B5EF4-FFF2-40B4-BE49-F238E27FC236}">
                <a16:creationId xmlns:a16="http://schemas.microsoft.com/office/drawing/2014/main" id="{8B613620-4808-498A-B0D7-7F5FA6902BBB}"/>
              </a:ext>
            </a:extLst>
          </p:cNvPr>
          <p:cNvSpPr>
            <a:spLocks/>
          </p:cNvSpPr>
          <p:nvPr/>
        </p:nvSpPr>
        <p:spPr>
          <a:xfrm>
            <a:off x="8673706" y="2457286"/>
            <a:ext cx="773589" cy="773589"/>
          </a:xfrm>
          <a:prstGeom prst="ellips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2" name="RbLeanShape Arrow Option 1 26">
            <a:extLst>
              <a:ext uri="{FF2B5EF4-FFF2-40B4-BE49-F238E27FC236}">
                <a16:creationId xmlns:a16="http://schemas.microsoft.com/office/drawing/2014/main" id="{84CDA62E-A1DC-492C-A073-4F12FCEC703D}"/>
              </a:ext>
            </a:extLst>
          </p:cNvPr>
          <p:cNvSpPr/>
          <p:nvPr/>
        </p:nvSpPr>
        <p:spPr>
          <a:xfrm>
            <a:off x="775145" y="2568213"/>
            <a:ext cx="3968305" cy="3770635"/>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27784"/>
              <a:gd name="connsiteY0" fmla="*/ 0 h 476250"/>
              <a:gd name="connsiteX1" fmla="*/ 352839 w 627784"/>
              <a:gd name="connsiteY1" fmla="*/ 0 h 476250"/>
              <a:gd name="connsiteX2" fmla="*/ 627784 w 627784"/>
              <a:gd name="connsiteY2" fmla="*/ 238125 h 476250"/>
              <a:gd name="connsiteX3" fmla="*/ 352839 w 627784"/>
              <a:gd name="connsiteY3" fmla="*/ 476250 h 476250"/>
              <a:gd name="connsiteX4" fmla="*/ 0 w 627784"/>
              <a:gd name="connsiteY4" fmla="*/ 476250 h 476250"/>
              <a:gd name="connsiteX0" fmla="*/ 0 w 620650"/>
              <a:gd name="connsiteY0" fmla="*/ 0 h 476250"/>
              <a:gd name="connsiteX1" fmla="*/ 352839 w 620650"/>
              <a:gd name="connsiteY1" fmla="*/ 0 h 476250"/>
              <a:gd name="connsiteX2" fmla="*/ 620650 w 620650"/>
              <a:gd name="connsiteY2" fmla="*/ 238125 h 476250"/>
              <a:gd name="connsiteX3" fmla="*/ 352839 w 620650"/>
              <a:gd name="connsiteY3" fmla="*/ 476250 h 476250"/>
              <a:gd name="connsiteX4" fmla="*/ 0 w 620650"/>
              <a:gd name="connsiteY4" fmla="*/ 476250 h 476250"/>
              <a:gd name="connsiteX0" fmla="*/ 0 w 613597"/>
              <a:gd name="connsiteY0" fmla="*/ 0 h 476250"/>
              <a:gd name="connsiteX1" fmla="*/ 352839 w 613597"/>
              <a:gd name="connsiteY1" fmla="*/ 0 h 476250"/>
              <a:gd name="connsiteX2" fmla="*/ 613597 w 613597"/>
              <a:gd name="connsiteY2" fmla="*/ 238125 h 476250"/>
              <a:gd name="connsiteX3" fmla="*/ 352839 w 613597"/>
              <a:gd name="connsiteY3" fmla="*/ 476250 h 476250"/>
              <a:gd name="connsiteX4" fmla="*/ 0 w 613597"/>
              <a:gd name="connsiteY4" fmla="*/ 476250 h 476250"/>
              <a:gd name="connsiteX0" fmla="*/ 0 w 606624"/>
              <a:gd name="connsiteY0" fmla="*/ 0 h 476250"/>
              <a:gd name="connsiteX1" fmla="*/ 352839 w 606624"/>
              <a:gd name="connsiteY1" fmla="*/ 0 h 476250"/>
              <a:gd name="connsiteX2" fmla="*/ 606624 w 606624"/>
              <a:gd name="connsiteY2" fmla="*/ 238125 h 476250"/>
              <a:gd name="connsiteX3" fmla="*/ 352839 w 606624"/>
              <a:gd name="connsiteY3" fmla="*/ 476250 h 476250"/>
              <a:gd name="connsiteX4" fmla="*/ 0 w 606624"/>
              <a:gd name="connsiteY4" fmla="*/ 476250 h 476250"/>
              <a:gd name="connsiteX0" fmla="*/ 0 w 599731"/>
              <a:gd name="connsiteY0" fmla="*/ 0 h 476250"/>
              <a:gd name="connsiteX1" fmla="*/ 352839 w 599731"/>
              <a:gd name="connsiteY1" fmla="*/ 0 h 476250"/>
              <a:gd name="connsiteX2" fmla="*/ 599731 w 599731"/>
              <a:gd name="connsiteY2" fmla="*/ 238125 h 476250"/>
              <a:gd name="connsiteX3" fmla="*/ 352839 w 599731"/>
              <a:gd name="connsiteY3" fmla="*/ 476250 h 476250"/>
              <a:gd name="connsiteX4" fmla="*/ 0 w 599731"/>
              <a:gd name="connsiteY4" fmla="*/ 476250 h 476250"/>
              <a:gd name="connsiteX0" fmla="*/ 0 w 592916"/>
              <a:gd name="connsiteY0" fmla="*/ 0 h 476250"/>
              <a:gd name="connsiteX1" fmla="*/ 352839 w 592916"/>
              <a:gd name="connsiteY1" fmla="*/ 0 h 476250"/>
              <a:gd name="connsiteX2" fmla="*/ 592916 w 592916"/>
              <a:gd name="connsiteY2" fmla="*/ 238125 h 476250"/>
              <a:gd name="connsiteX3" fmla="*/ 352839 w 592916"/>
              <a:gd name="connsiteY3" fmla="*/ 476250 h 476250"/>
              <a:gd name="connsiteX4" fmla="*/ 0 w 592916"/>
              <a:gd name="connsiteY4" fmla="*/ 476250 h 476250"/>
              <a:gd name="connsiteX0" fmla="*/ 0 w 586178"/>
              <a:gd name="connsiteY0" fmla="*/ 0 h 476250"/>
              <a:gd name="connsiteX1" fmla="*/ 352839 w 586178"/>
              <a:gd name="connsiteY1" fmla="*/ 0 h 476250"/>
              <a:gd name="connsiteX2" fmla="*/ 586178 w 586178"/>
              <a:gd name="connsiteY2" fmla="*/ 238125 h 476250"/>
              <a:gd name="connsiteX3" fmla="*/ 352839 w 586178"/>
              <a:gd name="connsiteY3" fmla="*/ 476250 h 476250"/>
              <a:gd name="connsiteX4" fmla="*/ 0 w 586178"/>
              <a:gd name="connsiteY4" fmla="*/ 476250 h 476250"/>
              <a:gd name="connsiteX0" fmla="*/ 0 w 579517"/>
              <a:gd name="connsiteY0" fmla="*/ 0 h 476250"/>
              <a:gd name="connsiteX1" fmla="*/ 352839 w 579517"/>
              <a:gd name="connsiteY1" fmla="*/ 0 h 476250"/>
              <a:gd name="connsiteX2" fmla="*/ 579517 w 579517"/>
              <a:gd name="connsiteY2" fmla="*/ 238125 h 476250"/>
              <a:gd name="connsiteX3" fmla="*/ 352839 w 579517"/>
              <a:gd name="connsiteY3" fmla="*/ 476250 h 476250"/>
              <a:gd name="connsiteX4" fmla="*/ 0 w 579517"/>
              <a:gd name="connsiteY4" fmla="*/ 476250 h 476250"/>
              <a:gd name="connsiteX0" fmla="*/ 0 w 572932"/>
              <a:gd name="connsiteY0" fmla="*/ 0 h 476250"/>
              <a:gd name="connsiteX1" fmla="*/ 352839 w 572932"/>
              <a:gd name="connsiteY1" fmla="*/ 0 h 476250"/>
              <a:gd name="connsiteX2" fmla="*/ 572932 w 572932"/>
              <a:gd name="connsiteY2" fmla="*/ 238125 h 476250"/>
              <a:gd name="connsiteX3" fmla="*/ 352839 w 572932"/>
              <a:gd name="connsiteY3" fmla="*/ 476250 h 476250"/>
              <a:gd name="connsiteX4" fmla="*/ 0 w 572932"/>
              <a:gd name="connsiteY4" fmla="*/ 476250 h 476250"/>
              <a:gd name="connsiteX0" fmla="*/ 0 w 566421"/>
              <a:gd name="connsiteY0" fmla="*/ 0 h 476250"/>
              <a:gd name="connsiteX1" fmla="*/ 352839 w 566421"/>
              <a:gd name="connsiteY1" fmla="*/ 0 h 476250"/>
              <a:gd name="connsiteX2" fmla="*/ 566421 w 566421"/>
              <a:gd name="connsiteY2" fmla="*/ 238125 h 476250"/>
              <a:gd name="connsiteX3" fmla="*/ 352839 w 566421"/>
              <a:gd name="connsiteY3" fmla="*/ 476250 h 476250"/>
              <a:gd name="connsiteX4" fmla="*/ 0 w 566421"/>
              <a:gd name="connsiteY4" fmla="*/ 476250 h 476250"/>
              <a:gd name="connsiteX0" fmla="*/ 0 w 559984"/>
              <a:gd name="connsiteY0" fmla="*/ 0 h 476250"/>
              <a:gd name="connsiteX1" fmla="*/ 352839 w 559984"/>
              <a:gd name="connsiteY1" fmla="*/ 0 h 476250"/>
              <a:gd name="connsiteX2" fmla="*/ 559984 w 559984"/>
              <a:gd name="connsiteY2" fmla="*/ 238125 h 476250"/>
              <a:gd name="connsiteX3" fmla="*/ 352839 w 559984"/>
              <a:gd name="connsiteY3" fmla="*/ 476250 h 476250"/>
              <a:gd name="connsiteX4" fmla="*/ 0 w 559984"/>
              <a:gd name="connsiteY4" fmla="*/ 476250 h 476250"/>
              <a:gd name="connsiteX0" fmla="*/ 0 w 553621"/>
              <a:gd name="connsiteY0" fmla="*/ 0 h 476250"/>
              <a:gd name="connsiteX1" fmla="*/ 352839 w 553621"/>
              <a:gd name="connsiteY1" fmla="*/ 0 h 476250"/>
              <a:gd name="connsiteX2" fmla="*/ 553621 w 553621"/>
              <a:gd name="connsiteY2" fmla="*/ 238125 h 476250"/>
              <a:gd name="connsiteX3" fmla="*/ 352839 w 553621"/>
              <a:gd name="connsiteY3" fmla="*/ 476250 h 476250"/>
              <a:gd name="connsiteX4" fmla="*/ 0 w 553621"/>
              <a:gd name="connsiteY4" fmla="*/ 476250 h 476250"/>
              <a:gd name="connsiteX0" fmla="*/ 0 w 547330"/>
              <a:gd name="connsiteY0" fmla="*/ 0 h 476250"/>
              <a:gd name="connsiteX1" fmla="*/ 352839 w 547330"/>
              <a:gd name="connsiteY1" fmla="*/ 0 h 476250"/>
              <a:gd name="connsiteX2" fmla="*/ 547330 w 547330"/>
              <a:gd name="connsiteY2" fmla="*/ 238125 h 476250"/>
              <a:gd name="connsiteX3" fmla="*/ 352839 w 547330"/>
              <a:gd name="connsiteY3" fmla="*/ 476250 h 476250"/>
              <a:gd name="connsiteX4" fmla="*/ 0 w 547330"/>
              <a:gd name="connsiteY4" fmla="*/ 476250 h 476250"/>
              <a:gd name="connsiteX0" fmla="*/ 0 w 541110"/>
              <a:gd name="connsiteY0" fmla="*/ 0 h 476250"/>
              <a:gd name="connsiteX1" fmla="*/ 352839 w 541110"/>
              <a:gd name="connsiteY1" fmla="*/ 0 h 476250"/>
              <a:gd name="connsiteX2" fmla="*/ 541110 w 541110"/>
              <a:gd name="connsiteY2" fmla="*/ 238125 h 476250"/>
              <a:gd name="connsiteX3" fmla="*/ 352839 w 541110"/>
              <a:gd name="connsiteY3" fmla="*/ 476250 h 476250"/>
              <a:gd name="connsiteX4" fmla="*/ 0 w 541110"/>
              <a:gd name="connsiteY4" fmla="*/ 476250 h 476250"/>
              <a:gd name="connsiteX0" fmla="*/ 0 w 534961"/>
              <a:gd name="connsiteY0" fmla="*/ 0 h 476250"/>
              <a:gd name="connsiteX1" fmla="*/ 352839 w 534961"/>
              <a:gd name="connsiteY1" fmla="*/ 0 h 476250"/>
              <a:gd name="connsiteX2" fmla="*/ 534961 w 534961"/>
              <a:gd name="connsiteY2" fmla="*/ 238125 h 476250"/>
              <a:gd name="connsiteX3" fmla="*/ 352839 w 534961"/>
              <a:gd name="connsiteY3" fmla="*/ 476250 h 476250"/>
              <a:gd name="connsiteX4" fmla="*/ 0 w 534961"/>
              <a:gd name="connsiteY4" fmla="*/ 476250 h 476250"/>
              <a:gd name="connsiteX0" fmla="*/ 0 w 528882"/>
              <a:gd name="connsiteY0" fmla="*/ 0 h 476250"/>
              <a:gd name="connsiteX1" fmla="*/ 352839 w 528882"/>
              <a:gd name="connsiteY1" fmla="*/ 0 h 476250"/>
              <a:gd name="connsiteX2" fmla="*/ 528882 w 528882"/>
              <a:gd name="connsiteY2" fmla="*/ 238125 h 476250"/>
              <a:gd name="connsiteX3" fmla="*/ 352839 w 528882"/>
              <a:gd name="connsiteY3" fmla="*/ 476250 h 476250"/>
              <a:gd name="connsiteX4" fmla="*/ 0 w 528882"/>
              <a:gd name="connsiteY4" fmla="*/ 476250 h 476250"/>
              <a:gd name="connsiteX0" fmla="*/ 0 w 522872"/>
              <a:gd name="connsiteY0" fmla="*/ 0 h 476250"/>
              <a:gd name="connsiteX1" fmla="*/ 352839 w 522872"/>
              <a:gd name="connsiteY1" fmla="*/ 0 h 476250"/>
              <a:gd name="connsiteX2" fmla="*/ 522872 w 522872"/>
              <a:gd name="connsiteY2" fmla="*/ 238125 h 476250"/>
              <a:gd name="connsiteX3" fmla="*/ 352839 w 522872"/>
              <a:gd name="connsiteY3" fmla="*/ 476250 h 476250"/>
              <a:gd name="connsiteX4" fmla="*/ 0 w 522872"/>
              <a:gd name="connsiteY4" fmla="*/ 476250 h 476250"/>
              <a:gd name="connsiteX0" fmla="*/ 0 w 516930"/>
              <a:gd name="connsiteY0" fmla="*/ 0 h 476250"/>
              <a:gd name="connsiteX1" fmla="*/ 352839 w 516930"/>
              <a:gd name="connsiteY1" fmla="*/ 0 h 476250"/>
              <a:gd name="connsiteX2" fmla="*/ 516930 w 516930"/>
              <a:gd name="connsiteY2" fmla="*/ 238125 h 476250"/>
              <a:gd name="connsiteX3" fmla="*/ 352839 w 516930"/>
              <a:gd name="connsiteY3" fmla="*/ 476250 h 476250"/>
              <a:gd name="connsiteX4" fmla="*/ 0 w 516930"/>
              <a:gd name="connsiteY4" fmla="*/ 476250 h 476250"/>
              <a:gd name="connsiteX0" fmla="*/ 0 w 511056"/>
              <a:gd name="connsiteY0" fmla="*/ 0 h 476250"/>
              <a:gd name="connsiteX1" fmla="*/ 352839 w 511056"/>
              <a:gd name="connsiteY1" fmla="*/ 0 h 476250"/>
              <a:gd name="connsiteX2" fmla="*/ 511056 w 511056"/>
              <a:gd name="connsiteY2" fmla="*/ 238125 h 476250"/>
              <a:gd name="connsiteX3" fmla="*/ 352839 w 511056"/>
              <a:gd name="connsiteY3" fmla="*/ 476250 h 476250"/>
              <a:gd name="connsiteX4" fmla="*/ 0 w 511056"/>
              <a:gd name="connsiteY4" fmla="*/ 476250 h 476250"/>
              <a:gd name="connsiteX0" fmla="*/ 0 w 505249"/>
              <a:gd name="connsiteY0" fmla="*/ 0 h 476250"/>
              <a:gd name="connsiteX1" fmla="*/ 352839 w 505249"/>
              <a:gd name="connsiteY1" fmla="*/ 0 h 476250"/>
              <a:gd name="connsiteX2" fmla="*/ 505249 w 505249"/>
              <a:gd name="connsiteY2" fmla="*/ 238125 h 476250"/>
              <a:gd name="connsiteX3" fmla="*/ 352839 w 505249"/>
              <a:gd name="connsiteY3" fmla="*/ 476250 h 476250"/>
              <a:gd name="connsiteX4" fmla="*/ 0 w 505249"/>
              <a:gd name="connsiteY4" fmla="*/ 476250 h 476250"/>
              <a:gd name="connsiteX0" fmla="*/ 0 w 499508"/>
              <a:gd name="connsiteY0" fmla="*/ 0 h 476250"/>
              <a:gd name="connsiteX1" fmla="*/ 352839 w 499508"/>
              <a:gd name="connsiteY1" fmla="*/ 0 h 476250"/>
              <a:gd name="connsiteX2" fmla="*/ 499508 w 499508"/>
              <a:gd name="connsiteY2" fmla="*/ 238125 h 476250"/>
              <a:gd name="connsiteX3" fmla="*/ 352839 w 499508"/>
              <a:gd name="connsiteY3" fmla="*/ 476250 h 476250"/>
              <a:gd name="connsiteX4" fmla="*/ 0 w 499508"/>
              <a:gd name="connsiteY4" fmla="*/ 476250 h 476250"/>
              <a:gd name="connsiteX0" fmla="*/ 0 w 493832"/>
              <a:gd name="connsiteY0" fmla="*/ 0 h 476250"/>
              <a:gd name="connsiteX1" fmla="*/ 352839 w 493832"/>
              <a:gd name="connsiteY1" fmla="*/ 0 h 476250"/>
              <a:gd name="connsiteX2" fmla="*/ 493832 w 493832"/>
              <a:gd name="connsiteY2" fmla="*/ 238125 h 476250"/>
              <a:gd name="connsiteX3" fmla="*/ 352839 w 493832"/>
              <a:gd name="connsiteY3" fmla="*/ 476250 h 476250"/>
              <a:gd name="connsiteX4" fmla="*/ 0 w 493832"/>
              <a:gd name="connsiteY4" fmla="*/ 476250 h 476250"/>
              <a:gd name="connsiteX0" fmla="*/ 0 w 488220"/>
              <a:gd name="connsiteY0" fmla="*/ 0 h 476250"/>
              <a:gd name="connsiteX1" fmla="*/ 352839 w 488220"/>
              <a:gd name="connsiteY1" fmla="*/ 0 h 476250"/>
              <a:gd name="connsiteX2" fmla="*/ 488220 w 488220"/>
              <a:gd name="connsiteY2" fmla="*/ 238125 h 476250"/>
              <a:gd name="connsiteX3" fmla="*/ 352839 w 488220"/>
              <a:gd name="connsiteY3" fmla="*/ 476250 h 476250"/>
              <a:gd name="connsiteX4" fmla="*/ 0 w 488220"/>
              <a:gd name="connsiteY4" fmla="*/ 476250 h 476250"/>
              <a:gd name="connsiteX0" fmla="*/ 0 w 482672"/>
              <a:gd name="connsiteY0" fmla="*/ 0 h 476250"/>
              <a:gd name="connsiteX1" fmla="*/ 352839 w 482672"/>
              <a:gd name="connsiteY1" fmla="*/ 0 h 476250"/>
              <a:gd name="connsiteX2" fmla="*/ 482672 w 482672"/>
              <a:gd name="connsiteY2" fmla="*/ 238125 h 476250"/>
              <a:gd name="connsiteX3" fmla="*/ 352839 w 482672"/>
              <a:gd name="connsiteY3" fmla="*/ 476250 h 476250"/>
              <a:gd name="connsiteX4" fmla="*/ 0 w 482672"/>
              <a:gd name="connsiteY4" fmla="*/ 476250 h 476250"/>
              <a:gd name="connsiteX0" fmla="*/ 0 w 477187"/>
              <a:gd name="connsiteY0" fmla="*/ 0 h 476250"/>
              <a:gd name="connsiteX1" fmla="*/ 352839 w 477187"/>
              <a:gd name="connsiteY1" fmla="*/ 0 h 476250"/>
              <a:gd name="connsiteX2" fmla="*/ 477187 w 477187"/>
              <a:gd name="connsiteY2" fmla="*/ 238125 h 476250"/>
              <a:gd name="connsiteX3" fmla="*/ 352839 w 477187"/>
              <a:gd name="connsiteY3" fmla="*/ 476250 h 476250"/>
              <a:gd name="connsiteX4" fmla="*/ 0 w 477187"/>
              <a:gd name="connsiteY4" fmla="*/ 476250 h 476250"/>
              <a:gd name="connsiteX0" fmla="*/ 0 w 471764"/>
              <a:gd name="connsiteY0" fmla="*/ 0 h 476250"/>
              <a:gd name="connsiteX1" fmla="*/ 352839 w 471764"/>
              <a:gd name="connsiteY1" fmla="*/ 0 h 476250"/>
              <a:gd name="connsiteX2" fmla="*/ 471764 w 471764"/>
              <a:gd name="connsiteY2" fmla="*/ 238125 h 476250"/>
              <a:gd name="connsiteX3" fmla="*/ 352839 w 471764"/>
              <a:gd name="connsiteY3" fmla="*/ 476250 h 476250"/>
              <a:gd name="connsiteX4" fmla="*/ 0 w 471764"/>
              <a:gd name="connsiteY4" fmla="*/ 476250 h 476250"/>
              <a:gd name="connsiteX0" fmla="*/ 0 w 466403"/>
              <a:gd name="connsiteY0" fmla="*/ 0 h 476250"/>
              <a:gd name="connsiteX1" fmla="*/ 352839 w 466403"/>
              <a:gd name="connsiteY1" fmla="*/ 0 h 476250"/>
              <a:gd name="connsiteX2" fmla="*/ 466403 w 466403"/>
              <a:gd name="connsiteY2" fmla="*/ 238125 h 476250"/>
              <a:gd name="connsiteX3" fmla="*/ 352839 w 466403"/>
              <a:gd name="connsiteY3" fmla="*/ 476250 h 476250"/>
              <a:gd name="connsiteX4" fmla="*/ 0 w 466403"/>
              <a:gd name="connsiteY4" fmla="*/ 476250 h 476250"/>
              <a:gd name="connsiteX0" fmla="*/ 0 w 461103"/>
              <a:gd name="connsiteY0" fmla="*/ 0 h 476250"/>
              <a:gd name="connsiteX1" fmla="*/ 352839 w 461103"/>
              <a:gd name="connsiteY1" fmla="*/ 0 h 476250"/>
              <a:gd name="connsiteX2" fmla="*/ 461103 w 461103"/>
              <a:gd name="connsiteY2" fmla="*/ 238125 h 476250"/>
              <a:gd name="connsiteX3" fmla="*/ 352839 w 461103"/>
              <a:gd name="connsiteY3" fmla="*/ 476250 h 476250"/>
              <a:gd name="connsiteX4" fmla="*/ 0 w 461103"/>
              <a:gd name="connsiteY4" fmla="*/ 476250 h 476250"/>
              <a:gd name="connsiteX0" fmla="*/ 0 w 455863"/>
              <a:gd name="connsiteY0" fmla="*/ 0 h 476250"/>
              <a:gd name="connsiteX1" fmla="*/ 352839 w 455863"/>
              <a:gd name="connsiteY1" fmla="*/ 0 h 476250"/>
              <a:gd name="connsiteX2" fmla="*/ 455863 w 455863"/>
              <a:gd name="connsiteY2" fmla="*/ 238125 h 476250"/>
              <a:gd name="connsiteX3" fmla="*/ 352839 w 455863"/>
              <a:gd name="connsiteY3" fmla="*/ 476250 h 476250"/>
              <a:gd name="connsiteX4" fmla="*/ 0 w 455863"/>
              <a:gd name="connsiteY4" fmla="*/ 476250 h 476250"/>
              <a:gd name="connsiteX0" fmla="*/ 0 w 450683"/>
              <a:gd name="connsiteY0" fmla="*/ 0 h 476250"/>
              <a:gd name="connsiteX1" fmla="*/ 352839 w 450683"/>
              <a:gd name="connsiteY1" fmla="*/ 0 h 476250"/>
              <a:gd name="connsiteX2" fmla="*/ 450683 w 450683"/>
              <a:gd name="connsiteY2" fmla="*/ 238125 h 476250"/>
              <a:gd name="connsiteX3" fmla="*/ 352839 w 450683"/>
              <a:gd name="connsiteY3" fmla="*/ 476250 h 476250"/>
              <a:gd name="connsiteX4" fmla="*/ 0 w 450683"/>
              <a:gd name="connsiteY4" fmla="*/ 476250 h 476250"/>
              <a:gd name="connsiteX0" fmla="*/ 0 w 445562"/>
              <a:gd name="connsiteY0" fmla="*/ 0 h 476250"/>
              <a:gd name="connsiteX1" fmla="*/ 352839 w 445562"/>
              <a:gd name="connsiteY1" fmla="*/ 0 h 476250"/>
              <a:gd name="connsiteX2" fmla="*/ 445562 w 445562"/>
              <a:gd name="connsiteY2" fmla="*/ 238125 h 476250"/>
              <a:gd name="connsiteX3" fmla="*/ 352839 w 445562"/>
              <a:gd name="connsiteY3" fmla="*/ 476250 h 476250"/>
              <a:gd name="connsiteX4" fmla="*/ 0 w 445562"/>
              <a:gd name="connsiteY4" fmla="*/ 476250 h 476250"/>
              <a:gd name="connsiteX0" fmla="*/ 0 w 440499"/>
              <a:gd name="connsiteY0" fmla="*/ 0 h 476250"/>
              <a:gd name="connsiteX1" fmla="*/ 352839 w 440499"/>
              <a:gd name="connsiteY1" fmla="*/ 0 h 476250"/>
              <a:gd name="connsiteX2" fmla="*/ 440499 w 440499"/>
              <a:gd name="connsiteY2" fmla="*/ 238125 h 476250"/>
              <a:gd name="connsiteX3" fmla="*/ 352839 w 440499"/>
              <a:gd name="connsiteY3" fmla="*/ 476250 h 476250"/>
              <a:gd name="connsiteX4" fmla="*/ 0 w 440499"/>
              <a:gd name="connsiteY4" fmla="*/ 476250 h 476250"/>
              <a:gd name="connsiteX0" fmla="*/ 0 w 435493"/>
              <a:gd name="connsiteY0" fmla="*/ 0 h 476250"/>
              <a:gd name="connsiteX1" fmla="*/ 352839 w 435493"/>
              <a:gd name="connsiteY1" fmla="*/ 0 h 476250"/>
              <a:gd name="connsiteX2" fmla="*/ 435493 w 435493"/>
              <a:gd name="connsiteY2" fmla="*/ 238125 h 476250"/>
              <a:gd name="connsiteX3" fmla="*/ 352839 w 435493"/>
              <a:gd name="connsiteY3" fmla="*/ 476250 h 476250"/>
              <a:gd name="connsiteX4" fmla="*/ 0 w 435493"/>
              <a:gd name="connsiteY4" fmla="*/ 476250 h 476250"/>
              <a:gd name="connsiteX0" fmla="*/ 0 w 430544"/>
              <a:gd name="connsiteY0" fmla="*/ 0 h 476250"/>
              <a:gd name="connsiteX1" fmla="*/ 352839 w 430544"/>
              <a:gd name="connsiteY1" fmla="*/ 0 h 476250"/>
              <a:gd name="connsiteX2" fmla="*/ 430544 w 430544"/>
              <a:gd name="connsiteY2" fmla="*/ 238125 h 476250"/>
              <a:gd name="connsiteX3" fmla="*/ 352839 w 430544"/>
              <a:gd name="connsiteY3" fmla="*/ 476250 h 476250"/>
              <a:gd name="connsiteX4" fmla="*/ 0 w 430544"/>
              <a:gd name="connsiteY4" fmla="*/ 476250 h 476250"/>
              <a:gd name="connsiteX0" fmla="*/ 0 w 425651"/>
              <a:gd name="connsiteY0" fmla="*/ 0 h 476250"/>
              <a:gd name="connsiteX1" fmla="*/ 352839 w 425651"/>
              <a:gd name="connsiteY1" fmla="*/ 0 h 476250"/>
              <a:gd name="connsiteX2" fmla="*/ 425651 w 425651"/>
              <a:gd name="connsiteY2" fmla="*/ 238125 h 476250"/>
              <a:gd name="connsiteX3" fmla="*/ 352839 w 425651"/>
              <a:gd name="connsiteY3" fmla="*/ 476250 h 476250"/>
              <a:gd name="connsiteX4" fmla="*/ 0 w 425651"/>
              <a:gd name="connsiteY4" fmla="*/ 476250 h 476250"/>
              <a:gd name="connsiteX0" fmla="*/ 0 w 420814"/>
              <a:gd name="connsiteY0" fmla="*/ 0 h 476250"/>
              <a:gd name="connsiteX1" fmla="*/ 352839 w 420814"/>
              <a:gd name="connsiteY1" fmla="*/ 0 h 476250"/>
              <a:gd name="connsiteX2" fmla="*/ 420814 w 420814"/>
              <a:gd name="connsiteY2" fmla="*/ 238125 h 476250"/>
              <a:gd name="connsiteX3" fmla="*/ 352839 w 420814"/>
              <a:gd name="connsiteY3" fmla="*/ 476250 h 476250"/>
              <a:gd name="connsiteX4" fmla="*/ 0 w 420814"/>
              <a:gd name="connsiteY4" fmla="*/ 476250 h 476250"/>
              <a:gd name="connsiteX0" fmla="*/ 0 w 416032"/>
              <a:gd name="connsiteY0" fmla="*/ 0 h 476250"/>
              <a:gd name="connsiteX1" fmla="*/ 352839 w 416032"/>
              <a:gd name="connsiteY1" fmla="*/ 0 h 476250"/>
              <a:gd name="connsiteX2" fmla="*/ 416032 w 416032"/>
              <a:gd name="connsiteY2" fmla="*/ 238125 h 476250"/>
              <a:gd name="connsiteX3" fmla="*/ 352839 w 416032"/>
              <a:gd name="connsiteY3" fmla="*/ 476250 h 476250"/>
              <a:gd name="connsiteX4" fmla="*/ 0 w 416032"/>
              <a:gd name="connsiteY4" fmla="*/ 476250 h 476250"/>
              <a:gd name="connsiteX0" fmla="*/ 0 w 411304"/>
              <a:gd name="connsiteY0" fmla="*/ 0 h 476250"/>
              <a:gd name="connsiteX1" fmla="*/ 352839 w 411304"/>
              <a:gd name="connsiteY1" fmla="*/ 0 h 476250"/>
              <a:gd name="connsiteX2" fmla="*/ 411304 w 411304"/>
              <a:gd name="connsiteY2" fmla="*/ 238125 h 476250"/>
              <a:gd name="connsiteX3" fmla="*/ 352839 w 411304"/>
              <a:gd name="connsiteY3" fmla="*/ 476250 h 476250"/>
              <a:gd name="connsiteX4" fmla="*/ 0 w 411304"/>
              <a:gd name="connsiteY4" fmla="*/ 476250 h 476250"/>
              <a:gd name="connsiteX0" fmla="*/ 0 w 406630"/>
              <a:gd name="connsiteY0" fmla="*/ 0 h 476250"/>
              <a:gd name="connsiteX1" fmla="*/ 352839 w 406630"/>
              <a:gd name="connsiteY1" fmla="*/ 0 h 476250"/>
              <a:gd name="connsiteX2" fmla="*/ 406630 w 406630"/>
              <a:gd name="connsiteY2" fmla="*/ 238125 h 476250"/>
              <a:gd name="connsiteX3" fmla="*/ 352839 w 406630"/>
              <a:gd name="connsiteY3" fmla="*/ 476250 h 476250"/>
              <a:gd name="connsiteX4" fmla="*/ 0 w 406630"/>
              <a:gd name="connsiteY4" fmla="*/ 476250 h 476250"/>
              <a:gd name="connsiteX0" fmla="*/ 0 w 402009"/>
              <a:gd name="connsiteY0" fmla="*/ 0 h 476250"/>
              <a:gd name="connsiteX1" fmla="*/ 352839 w 402009"/>
              <a:gd name="connsiteY1" fmla="*/ 0 h 476250"/>
              <a:gd name="connsiteX2" fmla="*/ 402009 w 402009"/>
              <a:gd name="connsiteY2" fmla="*/ 238125 h 476250"/>
              <a:gd name="connsiteX3" fmla="*/ 352839 w 402009"/>
              <a:gd name="connsiteY3" fmla="*/ 476250 h 476250"/>
              <a:gd name="connsiteX4" fmla="*/ 0 w 402009"/>
              <a:gd name="connsiteY4" fmla="*/ 476250 h 476250"/>
              <a:gd name="connsiteX0" fmla="*/ 0 w 397441"/>
              <a:gd name="connsiteY0" fmla="*/ 0 h 476250"/>
              <a:gd name="connsiteX1" fmla="*/ 352839 w 397441"/>
              <a:gd name="connsiteY1" fmla="*/ 0 h 476250"/>
              <a:gd name="connsiteX2" fmla="*/ 397441 w 397441"/>
              <a:gd name="connsiteY2" fmla="*/ 238125 h 476250"/>
              <a:gd name="connsiteX3" fmla="*/ 352839 w 397441"/>
              <a:gd name="connsiteY3" fmla="*/ 476250 h 476250"/>
              <a:gd name="connsiteX4" fmla="*/ 0 w 397441"/>
              <a:gd name="connsiteY4" fmla="*/ 476250 h 476250"/>
              <a:gd name="connsiteX0" fmla="*/ 0 w 389696"/>
              <a:gd name="connsiteY0" fmla="*/ 0 h 476250"/>
              <a:gd name="connsiteX1" fmla="*/ 352839 w 389696"/>
              <a:gd name="connsiteY1" fmla="*/ 0 h 476250"/>
              <a:gd name="connsiteX2" fmla="*/ 389696 w 389696"/>
              <a:gd name="connsiteY2" fmla="*/ 238125 h 476250"/>
              <a:gd name="connsiteX3" fmla="*/ 352839 w 389696"/>
              <a:gd name="connsiteY3" fmla="*/ 476250 h 476250"/>
              <a:gd name="connsiteX4" fmla="*/ 0 w 389696"/>
              <a:gd name="connsiteY4" fmla="*/ 476250 h 476250"/>
              <a:gd name="connsiteX0" fmla="*/ 0 w 397290"/>
              <a:gd name="connsiteY0" fmla="*/ 0 h 476250"/>
              <a:gd name="connsiteX1" fmla="*/ 352839 w 397290"/>
              <a:gd name="connsiteY1" fmla="*/ 0 h 476250"/>
              <a:gd name="connsiteX2" fmla="*/ 397290 w 397290"/>
              <a:gd name="connsiteY2" fmla="*/ 238125 h 476250"/>
              <a:gd name="connsiteX3" fmla="*/ 352839 w 397290"/>
              <a:gd name="connsiteY3" fmla="*/ 476250 h 476250"/>
              <a:gd name="connsiteX4" fmla="*/ 0 w 397290"/>
              <a:gd name="connsiteY4" fmla="*/ 476250 h 476250"/>
              <a:gd name="connsiteX0" fmla="*/ 0 w 405032"/>
              <a:gd name="connsiteY0" fmla="*/ 0 h 476250"/>
              <a:gd name="connsiteX1" fmla="*/ 352839 w 405032"/>
              <a:gd name="connsiteY1" fmla="*/ 0 h 476250"/>
              <a:gd name="connsiteX2" fmla="*/ 405032 w 405032"/>
              <a:gd name="connsiteY2" fmla="*/ 238125 h 476250"/>
              <a:gd name="connsiteX3" fmla="*/ 352839 w 405032"/>
              <a:gd name="connsiteY3" fmla="*/ 476250 h 476250"/>
              <a:gd name="connsiteX4" fmla="*/ 0 w 405032"/>
              <a:gd name="connsiteY4" fmla="*/ 476250 h 476250"/>
              <a:gd name="connsiteX0" fmla="*/ 0 w 412924"/>
              <a:gd name="connsiteY0" fmla="*/ 0 h 476250"/>
              <a:gd name="connsiteX1" fmla="*/ 352839 w 412924"/>
              <a:gd name="connsiteY1" fmla="*/ 0 h 476250"/>
              <a:gd name="connsiteX2" fmla="*/ 412924 w 412924"/>
              <a:gd name="connsiteY2" fmla="*/ 238125 h 476250"/>
              <a:gd name="connsiteX3" fmla="*/ 352839 w 412924"/>
              <a:gd name="connsiteY3" fmla="*/ 476250 h 476250"/>
              <a:gd name="connsiteX4" fmla="*/ 0 w 412924"/>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924" h="476250">
                <a:moveTo>
                  <a:pt x="0" y="0"/>
                </a:moveTo>
                <a:lnTo>
                  <a:pt x="352839" y="0"/>
                </a:lnTo>
                <a:lnTo>
                  <a:pt x="412924" y="238125"/>
                </a:lnTo>
                <a:lnTo>
                  <a:pt x="352839" y="476250"/>
                </a:lnTo>
                <a:lnTo>
                  <a:pt x="0" y="476250"/>
                </a:lnTo>
              </a:path>
            </a:pathLst>
          </a:custGeom>
          <a:solidFill>
            <a:schemeClr val="bg1"/>
          </a:solidFill>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p>
        </p:txBody>
      </p:sp>
      <p:sp>
        <p:nvSpPr>
          <p:cNvPr id="113" name="RBContent4">
            <a:extLst>
              <a:ext uri="{FF2B5EF4-FFF2-40B4-BE49-F238E27FC236}">
                <a16:creationId xmlns:a16="http://schemas.microsoft.com/office/drawing/2014/main" id="{64882E1F-36C1-40C9-81D5-D143A9884ED6}"/>
              </a:ext>
            </a:extLst>
          </p:cNvPr>
          <p:cNvSpPr txBox="1">
            <a:spLocks/>
          </p:cNvSpPr>
          <p:nvPr/>
        </p:nvSpPr>
        <p:spPr>
          <a:xfrm>
            <a:off x="5349249" y="2519770"/>
            <a:ext cx="3295882" cy="335733"/>
          </a:xfrm>
          <a:prstGeom prst="rect">
            <a:avLst/>
          </a:prstGeom>
          <a:noFill/>
          <a:ln w="9525">
            <a:noFill/>
          </a:ln>
        </p:spPr>
        <p:txBody>
          <a:bodyPr vert="horz" wrap="square" lIns="0" tIns="0" rIns="0" bIns="71882" rtlCol="0">
            <a:spAutoFit/>
          </a:bodyPr>
          <a:lstStyle/>
          <a:p>
            <a:pPr algn="r">
              <a:lnSpc>
                <a:spcPct val="90000"/>
              </a:lnSpc>
              <a:spcBef>
                <a:spcPts val="1800"/>
              </a:spcBef>
              <a:buSzPct val="100000"/>
            </a:pPr>
            <a:r>
              <a:rPr lang="en-US" sz="1900" dirty="0">
                <a:solidFill>
                  <a:schemeClr val="accent3"/>
                </a:solidFill>
                <a:latin typeface="+mn-lt"/>
                <a:sym typeface="+mn-lt"/>
              </a:rPr>
              <a:t>Key research questions</a:t>
            </a:r>
          </a:p>
        </p:txBody>
      </p:sp>
      <p:sp>
        <p:nvSpPr>
          <p:cNvPr id="114" name="RBContent4">
            <a:extLst>
              <a:ext uri="{FF2B5EF4-FFF2-40B4-BE49-F238E27FC236}">
                <a16:creationId xmlns:a16="http://schemas.microsoft.com/office/drawing/2014/main" id="{DDBCFE75-BBCE-4F75-A86B-50338D74EF4B}"/>
              </a:ext>
            </a:extLst>
          </p:cNvPr>
          <p:cNvSpPr txBox="1">
            <a:spLocks/>
          </p:cNvSpPr>
          <p:nvPr/>
        </p:nvSpPr>
        <p:spPr>
          <a:xfrm>
            <a:off x="923925" y="3175431"/>
            <a:ext cx="3138532" cy="789447"/>
          </a:xfrm>
          <a:prstGeom prst="rect">
            <a:avLst/>
          </a:prstGeom>
          <a:noFill/>
          <a:ln w="9525">
            <a:noFill/>
          </a:ln>
        </p:spPr>
        <p:txBody>
          <a:bodyPr vert="horz" wrap="square" lIns="0" tIns="0" rIns="0" bIns="0" rtlCol="0">
            <a:spAutoFit/>
          </a:bodyPr>
          <a:lstStyle/>
          <a:p>
            <a:pPr marL="0" lvl="1">
              <a:lnSpc>
                <a:spcPct val="90000"/>
              </a:lnSpc>
              <a:spcBef>
                <a:spcPts val="800"/>
              </a:spcBef>
              <a:buSzPct val="100000"/>
            </a:pPr>
            <a:r>
              <a:rPr lang="en-US" sz="1900" noProof="1">
                <a:solidFill>
                  <a:schemeClr val="accent6"/>
                </a:solidFill>
                <a:latin typeface="+mn-lt"/>
                <a:sym typeface="+mn-lt"/>
              </a:rPr>
              <a:t>Topic: </a:t>
            </a:r>
            <a:r>
              <a:rPr lang="en-US" sz="1900" b="0" noProof="1">
                <a:latin typeface="+mn-lt"/>
                <a:sym typeface="+mn-lt"/>
              </a:rPr>
              <a:t>Performance and key attributes of Higer Education Institutio</a:t>
            </a:r>
            <a:endParaRPr lang="en-US" sz="1900" b="0" noProof="1">
              <a:sym typeface="+mn-lt"/>
            </a:endParaRPr>
          </a:p>
        </p:txBody>
      </p:sp>
      <p:sp>
        <p:nvSpPr>
          <p:cNvPr id="115" name="RBContent4">
            <a:extLst>
              <a:ext uri="{FF2B5EF4-FFF2-40B4-BE49-F238E27FC236}">
                <a16:creationId xmlns:a16="http://schemas.microsoft.com/office/drawing/2014/main" id="{39B19BC5-5AC5-4D02-99B9-FBA39DFA2DEF}"/>
              </a:ext>
            </a:extLst>
          </p:cNvPr>
          <p:cNvSpPr txBox="1">
            <a:spLocks/>
          </p:cNvSpPr>
          <p:nvPr/>
        </p:nvSpPr>
        <p:spPr>
          <a:xfrm>
            <a:off x="738000" y="2265570"/>
            <a:ext cx="3295882" cy="335733"/>
          </a:xfrm>
          <a:prstGeom prst="rect">
            <a:avLst/>
          </a:prstGeom>
          <a:noFill/>
          <a:ln w="9525">
            <a:noFill/>
          </a:ln>
        </p:spPr>
        <p:txBody>
          <a:bodyPr vert="horz" wrap="square" lIns="0" tIns="0" rIns="0" bIns="71882" rtlCol="0">
            <a:spAutoFit/>
          </a:bodyPr>
          <a:lstStyle/>
          <a:p>
            <a:pPr>
              <a:lnSpc>
                <a:spcPct val="90000"/>
              </a:lnSpc>
              <a:spcBef>
                <a:spcPts val="1800"/>
              </a:spcBef>
              <a:buSzPct val="100000"/>
            </a:pPr>
            <a:r>
              <a:rPr lang="en-US" sz="1900" dirty="0">
                <a:solidFill>
                  <a:schemeClr val="accent6"/>
                </a:solidFill>
                <a:latin typeface="+mn-lt"/>
                <a:sym typeface="+mn-lt"/>
              </a:rPr>
              <a:t>Topic and goals</a:t>
            </a:r>
          </a:p>
        </p:txBody>
      </p:sp>
      <p:grpSp>
        <p:nvGrpSpPr>
          <p:cNvPr id="117" name="Group 593">
            <a:extLst>
              <a:ext uri="{FF2B5EF4-FFF2-40B4-BE49-F238E27FC236}">
                <a16:creationId xmlns:a16="http://schemas.microsoft.com/office/drawing/2014/main" id="{1E69C35C-DD04-4ABC-A6CD-CA3C4E0065F2}"/>
              </a:ext>
            </a:extLst>
          </p:cNvPr>
          <p:cNvGrpSpPr>
            <a:grpSpLocks noChangeAspect="1"/>
          </p:cNvGrpSpPr>
          <p:nvPr/>
        </p:nvGrpSpPr>
        <p:grpSpPr bwMode="auto">
          <a:xfrm>
            <a:off x="8802299" y="2585038"/>
            <a:ext cx="516405" cy="518088"/>
            <a:chOff x="1894" y="934"/>
            <a:chExt cx="2456" cy="2464"/>
          </a:xfrm>
          <a:solidFill>
            <a:schemeClr val="tx2"/>
          </a:solidFill>
        </p:grpSpPr>
        <p:sp>
          <p:nvSpPr>
            <p:cNvPr id="118" name="Freeform 595">
              <a:extLst>
                <a:ext uri="{FF2B5EF4-FFF2-40B4-BE49-F238E27FC236}">
                  <a16:creationId xmlns:a16="http://schemas.microsoft.com/office/drawing/2014/main" id="{040BD3E4-B6EF-48D4-8B30-32D7F49453E6}"/>
                </a:ext>
              </a:extLst>
            </p:cNvPr>
            <p:cNvSpPr>
              <a:spLocks/>
            </p:cNvSpPr>
            <p:nvPr/>
          </p:nvSpPr>
          <p:spPr bwMode="auto">
            <a:xfrm>
              <a:off x="2661" y="1963"/>
              <a:ext cx="921" cy="1422"/>
            </a:xfrm>
            <a:custGeom>
              <a:avLst/>
              <a:gdLst>
                <a:gd name="T0" fmla="*/ 1841 w 1841"/>
                <a:gd name="T1" fmla="*/ 0 h 2840"/>
                <a:gd name="T2" fmla="*/ 1841 w 1841"/>
                <a:gd name="T3" fmla="*/ 2840 h 2840"/>
                <a:gd name="T4" fmla="*/ 0 w 1841"/>
                <a:gd name="T5" fmla="*/ 1988 h 2840"/>
                <a:gd name="T6" fmla="*/ 0 w 1841"/>
                <a:gd name="T7" fmla="*/ 2 h 2840"/>
                <a:gd name="T8" fmla="*/ 69 w 1841"/>
                <a:gd name="T9" fmla="*/ 139 h 2840"/>
                <a:gd name="T10" fmla="*/ 145 w 1841"/>
                <a:gd name="T11" fmla="*/ 277 h 2840"/>
                <a:gd name="T12" fmla="*/ 227 w 1841"/>
                <a:gd name="T13" fmla="*/ 413 h 2840"/>
                <a:gd name="T14" fmla="*/ 291 w 1841"/>
                <a:gd name="T15" fmla="*/ 510 h 2840"/>
                <a:gd name="T16" fmla="*/ 355 w 1841"/>
                <a:gd name="T17" fmla="*/ 606 h 2840"/>
                <a:gd name="T18" fmla="*/ 421 w 1841"/>
                <a:gd name="T19" fmla="*/ 700 h 2840"/>
                <a:gd name="T20" fmla="*/ 488 w 1841"/>
                <a:gd name="T21" fmla="*/ 791 h 2840"/>
                <a:gd name="T22" fmla="*/ 554 w 1841"/>
                <a:gd name="T23" fmla="*/ 879 h 2840"/>
                <a:gd name="T24" fmla="*/ 619 w 1841"/>
                <a:gd name="T25" fmla="*/ 964 h 2840"/>
                <a:gd name="T26" fmla="*/ 683 w 1841"/>
                <a:gd name="T27" fmla="*/ 1047 h 2840"/>
                <a:gd name="T28" fmla="*/ 745 w 1841"/>
                <a:gd name="T29" fmla="*/ 1123 h 2840"/>
                <a:gd name="T30" fmla="*/ 803 w 1841"/>
                <a:gd name="T31" fmla="*/ 1196 h 2840"/>
                <a:gd name="T32" fmla="*/ 858 w 1841"/>
                <a:gd name="T33" fmla="*/ 1262 h 2840"/>
                <a:gd name="T34" fmla="*/ 864 w 1841"/>
                <a:gd name="T35" fmla="*/ 1271 h 2840"/>
                <a:gd name="T36" fmla="*/ 873 w 1841"/>
                <a:gd name="T37" fmla="*/ 1278 h 2840"/>
                <a:gd name="T38" fmla="*/ 894 w 1841"/>
                <a:gd name="T39" fmla="*/ 1292 h 2840"/>
                <a:gd name="T40" fmla="*/ 916 w 1841"/>
                <a:gd name="T41" fmla="*/ 1296 h 2840"/>
                <a:gd name="T42" fmla="*/ 940 w 1841"/>
                <a:gd name="T43" fmla="*/ 1293 h 2840"/>
                <a:gd name="T44" fmla="*/ 961 w 1841"/>
                <a:gd name="T45" fmla="*/ 1284 h 2840"/>
                <a:gd name="T46" fmla="*/ 980 w 1841"/>
                <a:gd name="T47" fmla="*/ 1268 h 2840"/>
                <a:gd name="T48" fmla="*/ 1034 w 1841"/>
                <a:gd name="T49" fmla="*/ 1201 h 2840"/>
                <a:gd name="T50" fmla="*/ 1092 w 1841"/>
                <a:gd name="T51" fmla="*/ 1129 h 2840"/>
                <a:gd name="T52" fmla="*/ 1155 w 1841"/>
                <a:gd name="T53" fmla="*/ 1053 h 2840"/>
                <a:gd name="T54" fmla="*/ 1219 w 1841"/>
                <a:gd name="T55" fmla="*/ 970 h 2840"/>
                <a:gd name="T56" fmla="*/ 1285 w 1841"/>
                <a:gd name="T57" fmla="*/ 885 h 2840"/>
                <a:gd name="T58" fmla="*/ 1351 w 1841"/>
                <a:gd name="T59" fmla="*/ 797 h 2840"/>
                <a:gd name="T60" fmla="*/ 1418 w 1841"/>
                <a:gd name="T61" fmla="*/ 704 h 2840"/>
                <a:gd name="T62" fmla="*/ 1485 w 1841"/>
                <a:gd name="T63" fmla="*/ 610 h 2840"/>
                <a:gd name="T64" fmla="*/ 1550 w 1841"/>
                <a:gd name="T65" fmla="*/ 513 h 2840"/>
                <a:gd name="T66" fmla="*/ 1615 w 1841"/>
                <a:gd name="T67" fmla="*/ 414 h 2840"/>
                <a:gd name="T68" fmla="*/ 1697 w 1841"/>
                <a:gd name="T69" fmla="*/ 277 h 2840"/>
                <a:gd name="T70" fmla="*/ 1774 w 1841"/>
                <a:gd name="T71" fmla="*/ 139 h 2840"/>
                <a:gd name="T72" fmla="*/ 1841 w 1841"/>
                <a:gd name="T73" fmla="*/ 0 h 2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1" h="2840">
                  <a:moveTo>
                    <a:pt x="1841" y="0"/>
                  </a:moveTo>
                  <a:lnTo>
                    <a:pt x="1841" y="2840"/>
                  </a:lnTo>
                  <a:lnTo>
                    <a:pt x="0" y="1988"/>
                  </a:lnTo>
                  <a:lnTo>
                    <a:pt x="0" y="2"/>
                  </a:lnTo>
                  <a:lnTo>
                    <a:pt x="69" y="139"/>
                  </a:lnTo>
                  <a:lnTo>
                    <a:pt x="145" y="277"/>
                  </a:lnTo>
                  <a:lnTo>
                    <a:pt x="227" y="413"/>
                  </a:lnTo>
                  <a:lnTo>
                    <a:pt x="291" y="510"/>
                  </a:lnTo>
                  <a:lnTo>
                    <a:pt x="355" y="606"/>
                  </a:lnTo>
                  <a:lnTo>
                    <a:pt x="421" y="700"/>
                  </a:lnTo>
                  <a:lnTo>
                    <a:pt x="488" y="791"/>
                  </a:lnTo>
                  <a:lnTo>
                    <a:pt x="554" y="879"/>
                  </a:lnTo>
                  <a:lnTo>
                    <a:pt x="619" y="964"/>
                  </a:lnTo>
                  <a:lnTo>
                    <a:pt x="683" y="1047"/>
                  </a:lnTo>
                  <a:lnTo>
                    <a:pt x="745" y="1123"/>
                  </a:lnTo>
                  <a:lnTo>
                    <a:pt x="803" y="1196"/>
                  </a:lnTo>
                  <a:lnTo>
                    <a:pt x="858" y="1262"/>
                  </a:lnTo>
                  <a:lnTo>
                    <a:pt x="864" y="1271"/>
                  </a:lnTo>
                  <a:lnTo>
                    <a:pt x="873" y="1278"/>
                  </a:lnTo>
                  <a:lnTo>
                    <a:pt x="894" y="1292"/>
                  </a:lnTo>
                  <a:lnTo>
                    <a:pt x="916" y="1296"/>
                  </a:lnTo>
                  <a:lnTo>
                    <a:pt x="940" y="1293"/>
                  </a:lnTo>
                  <a:lnTo>
                    <a:pt x="961" y="1284"/>
                  </a:lnTo>
                  <a:lnTo>
                    <a:pt x="980" y="1268"/>
                  </a:lnTo>
                  <a:lnTo>
                    <a:pt x="1034" y="1201"/>
                  </a:lnTo>
                  <a:lnTo>
                    <a:pt x="1092" y="1129"/>
                  </a:lnTo>
                  <a:lnTo>
                    <a:pt x="1155" y="1053"/>
                  </a:lnTo>
                  <a:lnTo>
                    <a:pt x="1219" y="970"/>
                  </a:lnTo>
                  <a:lnTo>
                    <a:pt x="1285" y="885"/>
                  </a:lnTo>
                  <a:lnTo>
                    <a:pt x="1351" y="797"/>
                  </a:lnTo>
                  <a:lnTo>
                    <a:pt x="1418" y="704"/>
                  </a:lnTo>
                  <a:lnTo>
                    <a:pt x="1485" y="610"/>
                  </a:lnTo>
                  <a:lnTo>
                    <a:pt x="1550" y="513"/>
                  </a:lnTo>
                  <a:lnTo>
                    <a:pt x="1615" y="414"/>
                  </a:lnTo>
                  <a:lnTo>
                    <a:pt x="1697" y="277"/>
                  </a:lnTo>
                  <a:lnTo>
                    <a:pt x="1774" y="139"/>
                  </a:lnTo>
                  <a:lnTo>
                    <a:pt x="18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596">
              <a:extLst>
                <a:ext uri="{FF2B5EF4-FFF2-40B4-BE49-F238E27FC236}">
                  <a16:creationId xmlns:a16="http://schemas.microsoft.com/office/drawing/2014/main" id="{0BD99D6D-8525-4CE3-BF3B-21EE7B55A98A}"/>
                </a:ext>
              </a:extLst>
            </p:cNvPr>
            <p:cNvSpPr>
              <a:spLocks/>
            </p:cNvSpPr>
            <p:nvPr/>
          </p:nvSpPr>
          <p:spPr bwMode="auto">
            <a:xfrm>
              <a:off x="1894" y="1549"/>
              <a:ext cx="700" cy="1849"/>
            </a:xfrm>
            <a:custGeom>
              <a:avLst/>
              <a:gdLst>
                <a:gd name="T0" fmla="*/ 1157 w 1396"/>
                <a:gd name="T1" fmla="*/ 0 h 3692"/>
                <a:gd name="T2" fmla="*/ 1180 w 1396"/>
                <a:gd name="T3" fmla="*/ 6 h 3692"/>
                <a:gd name="T4" fmla="*/ 1201 w 1396"/>
                <a:gd name="T5" fmla="*/ 20 h 3692"/>
                <a:gd name="T6" fmla="*/ 1216 w 1396"/>
                <a:gd name="T7" fmla="*/ 38 h 3692"/>
                <a:gd name="T8" fmla="*/ 1220 w 1396"/>
                <a:gd name="T9" fmla="*/ 47 h 3692"/>
                <a:gd name="T10" fmla="*/ 1223 w 1396"/>
                <a:gd name="T11" fmla="*/ 56 h 3692"/>
                <a:gd name="T12" fmla="*/ 1396 w 1396"/>
                <a:gd name="T13" fmla="*/ 485 h 3692"/>
                <a:gd name="T14" fmla="*/ 1384 w 1396"/>
                <a:gd name="T15" fmla="*/ 506 h 3692"/>
                <a:gd name="T16" fmla="*/ 1380 w 1396"/>
                <a:gd name="T17" fmla="*/ 530 h 3692"/>
                <a:gd name="T18" fmla="*/ 1380 w 1396"/>
                <a:gd name="T19" fmla="*/ 2837 h 3692"/>
                <a:gd name="T20" fmla="*/ 119 w 1396"/>
                <a:gd name="T21" fmla="*/ 3679 h 3692"/>
                <a:gd name="T22" fmla="*/ 101 w 1396"/>
                <a:gd name="T23" fmla="*/ 3688 h 3692"/>
                <a:gd name="T24" fmla="*/ 82 w 1396"/>
                <a:gd name="T25" fmla="*/ 3692 h 3692"/>
                <a:gd name="T26" fmla="*/ 62 w 1396"/>
                <a:gd name="T27" fmla="*/ 3691 h 3692"/>
                <a:gd name="T28" fmla="*/ 43 w 1396"/>
                <a:gd name="T29" fmla="*/ 3685 h 3692"/>
                <a:gd name="T30" fmla="*/ 26 w 1396"/>
                <a:gd name="T31" fmla="*/ 3673 h 3692"/>
                <a:gd name="T32" fmla="*/ 13 w 1396"/>
                <a:gd name="T33" fmla="*/ 3658 h 3692"/>
                <a:gd name="T34" fmla="*/ 5 w 1396"/>
                <a:gd name="T35" fmla="*/ 3641 h 3692"/>
                <a:gd name="T36" fmla="*/ 1 w 1396"/>
                <a:gd name="T37" fmla="*/ 3625 h 3692"/>
                <a:gd name="T38" fmla="*/ 0 w 1396"/>
                <a:gd name="T39" fmla="*/ 3608 h 3692"/>
                <a:gd name="T40" fmla="*/ 0 w 1396"/>
                <a:gd name="T41" fmla="*/ 3602 h 3692"/>
                <a:gd name="T42" fmla="*/ 0 w 1396"/>
                <a:gd name="T43" fmla="*/ 3602 h 3692"/>
                <a:gd name="T44" fmla="*/ 1 w 1396"/>
                <a:gd name="T45" fmla="*/ 712 h 3692"/>
                <a:gd name="T46" fmla="*/ 4 w 1396"/>
                <a:gd name="T47" fmla="*/ 691 h 3692"/>
                <a:gd name="T48" fmla="*/ 11 w 1396"/>
                <a:gd name="T49" fmla="*/ 673 h 3692"/>
                <a:gd name="T50" fmla="*/ 23 w 1396"/>
                <a:gd name="T51" fmla="*/ 658 h 3692"/>
                <a:gd name="T52" fmla="*/ 40 w 1396"/>
                <a:gd name="T53" fmla="*/ 646 h 3692"/>
                <a:gd name="T54" fmla="*/ 1111 w 1396"/>
                <a:gd name="T55" fmla="*/ 11 h 3692"/>
                <a:gd name="T56" fmla="*/ 1134 w 1396"/>
                <a:gd name="T57" fmla="*/ 2 h 3692"/>
                <a:gd name="T58" fmla="*/ 1157 w 1396"/>
                <a:gd name="T59" fmla="*/ 0 h 3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96" h="3692">
                  <a:moveTo>
                    <a:pt x="1157" y="0"/>
                  </a:moveTo>
                  <a:lnTo>
                    <a:pt x="1180" y="6"/>
                  </a:lnTo>
                  <a:lnTo>
                    <a:pt x="1201" y="20"/>
                  </a:lnTo>
                  <a:lnTo>
                    <a:pt x="1216" y="38"/>
                  </a:lnTo>
                  <a:lnTo>
                    <a:pt x="1220" y="47"/>
                  </a:lnTo>
                  <a:lnTo>
                    <a:pt x="1223" y="56"/>
                  </a:lnTo>
                  <a:lnTo>
                    <a:pt x="1396" y="485"/>
                  </a:lnTo>
                  <a:lnTo>
                    <a:pt x="1384" y="506"/>
                  </a:lnTo>
                  <a:lnTo>
                    <a:pt x="1380" y="530"/>
                  </a:lnTo>
                  <a:lnTo>
                    <a:pt x="1380" y="2837"/>
                  </a:lnTo>
                  <a:lnTo>
                    <a:pt x="119" y="3679"/>
                  </a:lnTo>
                  <a:lnTo>
                    <a:pt x="101" y="3688"/>
                  </a:lnTo>
                  <a:lnTo>
                    <a:pt x="82" y="3692"/>
                  </a:lnTo>
                  <a:lnTo>
                    <a:pt x="62" y="3691"/>
                  </a:lnTo>
                  <a:lnTo>
                    <a:pt x="43" y="3685"/>
                  </a:lnTo>
                  <a:lnTo>
                    <a:pt x="26" y="3673"/>
                  </a:lnTo>
                  <a:lnTo>
                    <a:pt x="13" y="3658"/>
                  </a:lnTo>
                  <a:lnTo>
                    <a:pt x="5" y="3641"/>
                  </a:lnTo>
                  <a:lnTo>
                    <a:pt x="1" y="3625"/>
                  </a:lnTo>
                  <a:lnTo>
                    <a:pt x="0" y="3608"/>
                  </a:lnTo>
                  <a:lnTo>
                    <a:pt x="0" y="3602"/>
                  </a:lnTo>
                  <a:lnTo>
                    <a:pt x="0" y="3602"/>
                  </a:lnTo>
                  <a:lnTo>
                    <a:pt x="1" y="712"/>
                  </a:lnTo>
                  <a:lnTo>
                    <a:pt x="4" y="691"/>
                  </a:lnTo>
                  <a:lnTo>
                    <a:pt x="11" y="673"/>
                  </a:lnTo>
                  <a:lnTo>
                    <a:pt x="23" y="658"/>
                  </a:lnTo>
                  <a:lnTo>
                    <a:pt x="40" y="646"/>
                  </a:lnTo>
                  <a:lnTo>
                    <a:pt x="1111" y="11"/>
                  </a:lnTo>
                  <a:lnTo>
                    <a:pt x="1134" y="2"/>
                  </a:lnTo>
                  <a:lnTo>
                    <a:pt x="11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0" name="Freeform 597">
              <a:extLst>
                <a:ext uri="{FF2B5EF4-FFF2-40B4-BE49-F238E27FC236}">
                  <a16:creationId xmlns:a16="http://schemas.microsoft.com/office/drawing/2014/main" id="{71F0AD5D-D13A-4B3E-8D8D-178EB8B188DF}"/>
                </a:ext>
              </a:extLst>
            </p:cNvPr>
            <p:cNvSpPr>
              <a:spLocks/>
            </p:cNvSpPr>
            <p:nvPr/>
          </p:nvSpPr>
          <p:spPr bwMode="auto">
            <a:xfrm>
              <a:off x="3658" y="1396"/>
              <a:ext cx="692" cy="1984"/>
            </a:xfrm>
            <a:custGeom>
              <a:avLst/>
              <a:gdLst>
                <a:gd name="T0" fmla="*/ 1310 w 1380"/>
                <a:gd name="T1" fmla="*/ 0 h 3962"/>
                <a:gd name="T2" fmla="*/ 1332 w 1380"/>
                <a:gd name="T3" fmla="*/ 5 h 3962"/>
                <a:gd name="T4" fmla="*/ 1352 w 1380"/>
                <a:gd name="T5" fmla="*/ 17 h 3962"/>
                <a:gd name="T6" fmla="*/ 1368 w 1380"/>
                <a:gd name="T7" fmla="*/ 36 h 3962"/>
                <a:gd name="T8" fmla="*/ 1377 w 1380"/>
                <a:gd name="T9" fmla="*/ 55 h 3962"/>
                <a:gd name="T10" fmla="*/ 1380 w 1380"/>
                <a:gd name="T11" fmla="*/ 76 h 3962"/>
                <a:gd name="T12" fmla="*/ 1380 w 1380"/>
                <a:gd name="T13" fmla="*/ 3000 h 3962"/>
                <a:gd name="T14" fmla="*/ 1377 w 1380"/>
                <a:gd name="T15" fmla="*/ 3021 h 3962"/>
                <a:gd name="T16" fmla="*/ 1370 w 1380"/>
                <a:gd name="T17" fmla="*/ 3039 h 3962"/>
                <a:gd name="T18" fmla="*/ 1356 w 1380"/>
                <a:gd name="T19" fmla="*/ 3055 h 3962"/>
                <a:gd name="T20" fmla="*/ 1340 w 1380"/>
                <a:gd name="T21" fmla="*/ 3067 h 3962"/>
                <a:gd name="T22" fmla="*/ 0 w 1380"/>
                <a:gd name="T23" fmla="*/ 3962 h 3962"/>
                <a:gd name="T24" fmla="*/ 1 w 1380"/>
                <a:gd name="T25" fmla="*/ 837 h 3962"/>
                <a:gd name="T26" fmla="*/ 0 w 1380"/>
                <a:gd name="T27" fmla="*/ 834 h 3962"/>
                <a:gd name="T28" fmla="*/ 0 w 1380"/>
                <a:gd name="T29" fmla="*/ 830 h 3962"/>
                <a:gd name="T30" fmla="*/ 6 w 1380"/>
                <a:gd name="T31" fmla="*/ 818 h 3962"/>
                <a:gd name="T32" fmla="*/ 10 w 1380"/>
                <a:gd name="T33" fmla="*/ 809 h 3962"/>
                <a:gd name="T34" fmla="*/ 12 w 1380"/>
                <a:gd name="T35" fmla="*/ 806 h 3962"/>
                <a:gd name="T36" fmla="*/ 12 w 1380"/>
                <a:gd name="T37" fmla="*/ 806 h 3962"/>
                <a:gd name="T38" fmla="*/ 22 w 1380"/>
                <a:gd name="T39" fmla="*/ 791 h 3962"/>
                <a:gd name="T40" fmla="*/ 37 w 1380"/>
                <a:gd name="T41" fmla="*/ 779 h 3962"/>
                <a:gd name="T42" fmla="*/ 1264 w 1380"/>
                <a:gd name="T43" fmla="*/ 11 h 3962"/>
                <a:gd name="T44" fmla="*/ 1286 w 1380"/>
                <a:gd name="T45" fmla="*/ 2 h 3962"/>
                <a:gd name="T46" fmla="*/ 1310 w 1380"/>
                <a:gd name="T47" fmla="*/ 0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0" h="3962">
                  <a:moveTo>
                    <a:pt x="1310" y="0"/>
                  </a:moveTo>
                  <a:lnTo>
                    <a:pt x="1332" y="5"/>
                  </a:lnTo>
                  <a:lnTo>
                    <a:pt x="1352" y="17"/>
                  </a:lnTo>
                  <a:lnTo>
                    <a:pt x="1368" y="36"/>
                  </a:lnTo>
                  <a:lnTo>
                    <a:pt x="1377" y="55"/>
                  </a:lnTo>
                  <a:lnTo>
                    <a:pt x="1380" y="76"/>
                  </a:lnTo>
                  <a:lnTo>
                    <a:pt x="1380" y="3000"/>
                  </a:lnTo>
                  <a:lnTo>
                    <a:pt x="1377" y="3021"/>
                  </a:lnTo>
                  <a:lnTo>
                    <a:pt x="1370" y="3039"/>
                  </a:lnTo>
                  <a:lnTo>
                    <a:pt x="1356" y="3055"/>
                  </a:lnTo>
                  <a:lnTo>
                    <a:pt x="1340" y="3067"/>
                  </a:lnTo>
                  <a:lnTo>
                    <a:pt x="0" y="3962"/>
                  </a:lnTo>
                  <a:lnTo>
                    <a:pt x="1" y="837"/>
                  </a:lnTo>
                  <a:lnTo>
                    <a:pt x="0" y="834"/>
                  </a:lnTo>
                  <a:lnTo>
                    <a:pt x="0" y="830"/>
                  </a:lnTo>
                  <a:lnTo>
                    <a:pt x="6" y="818"/>
                  </a:lnTo>
                  <a:lnTo>
                    <a:pt x="10" y="809"/>
                  </a:lnTo>
                  <a:lnTo>
                    <a:pt x="12" y="806"/>
                  </a:lnTo>
                  <a:lnTo>
                    <a:pt x="12" y="806"/>
                  </a:lnTo>
                  <a:lnTo>
                    <a:pt x="22" y="791"/>
                  </a:lnTo>
                  <a:lnTo>
                    <a:pt x="37" y="779"/>
                  </a:lnTo>
                  <a:lnTo>
                    <a:pt x="1264" y="11"/>
                  </a:lnTo>
                  <a:lnTo>
                    <a:pt x="1286" y="2"/>
                  </a:lnTo>
                  <a:lnTo>
                    <a:pt x="13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1" name="Freeform 598">
              <a:extLst>
                <a:ext uri="{FF2B5EF4-FFF2-40B4-BE49-F238E27FC236}">
                  <a16:creationId xmlns:a16="http://schemas.microsoft.com/office/drawing/2014/main" id="{EBBC6B3B-40DE-4935-B2D0-047B3F5F3510}"/>
                </a:ext>
              </a:extLst>
            </p:cNvPr>
            <p:cNvSpPr>
              <a:spLocks noEditPoints="1"/>
            </p:cNvSpPr>
            <p:nvPr/>
          </p:nvSpPr>
          <p:spPr bwMode="auto">
            <a:xfrm>
              <a:off x="2584" y="934"/>
              <a:ext cx="1075" cy="1578"/>
            </a:xfrm>
            <a:custGeom>
              <a:avLst/>
              <a:gdLst>
                <a:gd name="T0" fmla="*/ 950 w 2147"/>
                <a:gd name="T1" fmla="*/ 637 h 3152"/>
                <a:gd name="T2" fmla="*/ 792 w 2147"/>
                <a:gd name="T3" fmla="*/ 716 h 3152"/>
                <a:gd name="T4" fmla="*/ 709 w 2147"/>
                <a:gd name="T5" fmla="*/ 800 h 3152"/>
                <a:gd name="T6" fmla="*/ 630 w 2147"/>
                <a:gd name="T7" fmla="*/ 958 h 3152"/>
                <a:gd name="T8" fmla="*/ 616 w 2147"/>
                <a:gd name="T9" fmla="*/ 1143 h 3152"/>
                <a:gd name="T10" fmla="*/ 676 w 2147"/>
                <a:gd name="T11" fmla="*/ 1314 h 3152"/>
                <a:gd name="T12" fmla="*/ 792 w 2147"/>
                <a:gd name="T13" fmla="*/ 1445 h 3152"/>
                <a:gd name="T14" fmla="*/ 950 w 2147"/>
                <a:gd name="T15" fmla="*/ 1526 h 3152"/>
                <a:gd name="T16" fmla="*/ 1135 w 2147"/>
                <a:gd name="T17" fmla="*/ 1538 h 3152"/>
                <a:gd name="T18" fmla="*/ 1304 w 2147"/>
                <a:gd name="T19" fmla="*/ 1480 h 3152"/>
                <a:gd name="T20" fmla="*/ 1398 w 2147"/>
                <a:gd name="T21" fmla="*/ 1406 h 3152"/>
                <a:gd name="T22" fmla="*/ 1497 w 2147"/>
                <a:gd name="T23" fmla="*/ 1260 h 3152"/>
                <a:gd name="T24" fmla="*/ 1532 w 2147"/>
                <a:gd name="T25" fmla="*/ 1081 h 3152"/>
                <a:gd name="T26" fmla="*/ 1497 w 2147"/>
                <a:gd name="T27" fmla="*/ 901 h 3152"/>
                <a:gd name="T28" fmla="*/ 1398 w 2147"/>
                <a:gd name="T29" fmla="*/ 756 h 3152"/>
                <a:gd name="T30" fmla="*/ 1306 w 2147"/>
                <a:gd name="T31" fmla="*/ 683 h 3152"/>
                <a:gd name="T32" fmla="*/ 1135 w 2147"/>
                <a:gd name="T33" fmla="*/ 625 h 3152"/>
                <a:gd name="T34" fmla="*/ 1170 w 2147"/>
                <a:gd name="T35" fmla="*/ 4 h 3152"/>
                <a:gd name="T36" fmla="*/ 1447 w 2147"/>
                <a:gd name="T37" fmla="*/ 67 h 3152"/>
                <a:gd name="T38" fmla="*/ 1692 w 2147"/>
                <a:gd name="T39" fmla="*/ 196 h 3152"/>
                <a:gd name="T40" fmla="*/ 1832 w 2147"/>
                <a:gd name="T41" fmla="*/ 314 h 3152"/>
                <a:gd name="T42" fmla="*/ 1999 w 2147"/>
                <a:gd name="T43" fmla="*/ 532 h 3152"/>
                <a:gd name="T44" fmla="*/ 2108 w 2147"/>
                <a:gd name="T45" fmla="*/ 789 h 3152"/>
                <a:gd name="T46" fmla="*/ 2147 w 2147"/>
                <a:gd name="T47" fmla="*/ 1075 h 3152"/>
                <a:gd name="T48" fmla="*/ 2143 w 2147"/>
                <a:gd name="T49" fmla="*/ 1161 h 3152"/>
                <a:gd name="T50" fmla="*/ 2089 w 2147"/>
                <a:gd name="T51" fmla="*/ 1415 h 3152"/>
                <a:gd name="T52" fmla="*/ 1985 w 2147"/>
                <a:gd name="T53" fmla="*/ 1681 h 3152"/>
                <a:gd name="T54" fmla="*/ 1864 w 2147"/>
                <a:gd name="T55" fmla="*/ 1973 h 3152"/>
                <a:gd name="T56" fmla="*/ 1701 w 2147"/>
                <a:gd name="T57" fmla="*/ 2282 h 3152"/>
                <a:gd name="T58" fmla="*/ 1497 w 2147"/>
                <a:gd name="T59" fmla="*/ 2596 h 3152"/>
                <a:gd name="T60" fmla="*/ 1277 w 2147"/>
                <a:gd name="T61" fmla="*/ 2893 h 3152"/>
                <a:gd name="T62" fmla="*/ 1073 w 2147"/>
                <a:gd name="T63" fmla="*/ 3152 h 3152"/>
                <a:gd name="T64" fmla="*/ 868 w 2147"/>
                <a:gd name="T65" fmla="*/ 2895 h 3152"/>
                <a:gd name="T66" fmla="*/ 650 w 2147"/>
                <a:gd name="T67" fmla="*/ 2597 h 3152"/>
                <a:gd name="T68" fmla="*/ 446 w 2147"/>
                <a:gd name="T69" fmla="*/ 2282 h 3152"/>
                <a:gd name="T70" fmla="*/ 283 w 2147"/>
                <a:gd name="T71" fmla="*/ 1973 h 3152"/>
                <a:gd name="T72" fmla="*/ 161 w 2147"/>
                <a:gd name="T73" fmla="*/ 1683 h 3152"/>
                <a:gd name="T74" fmla="*/ 57 w 2147"/>
                <a:gd name="T75" fmla="*/ 1415 h 3152"/>
                <a:gd name="T76" fmla="*/ 3 w 2147"/>
                <a:gd name="T77" fmla="*/ 1161 h 3152"/>
                <a:gd name="T78" fmla="*/ 0 w 2147"/>
                <a:gd name="T79" fmla="*/ 1075 h 3152"/>
                <a:gd name="T80" fmla="*/ 39 w 2147"/>
                <a:gd name="T81" fmla="*/ 789 h 3152"/>
                <a:gd name="T82" fmla="*/ 146 w 2147"/>
                <a:gd name="T83" fmla="*/ 532 h 3152"/>
                <a:gd name="T84" fmla="*/ 313 w 2147"/>
                <a:gd name="T85" fmla="*/ 314 h 3152"/>
                <a:gd name="T86" fmla="*/ 531 w 2147"/>
                <a:gd name="T87" fmla="*/ 146 h 3152"/>
                <a:gd name="T88" fmla="*/ 788 w 2147"/>
                <a:gd name="T89" fmla="*/ 39 h 3152"/>
                <a:gd name="T90" fmla="*/ 1073 w 2147"/>
                <a:gd name="T91" fmla="*/ 0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7" h="3152">
                  <a:moveTo>
                    <a:pt x="1073" y="620"/>
                  </a:moveTo>
                  <a:lnTo>
                    <a:pt x="1010" y="625"/>
                  </a:lnTo>
                  <a:lnTo>
                    <a:pt x="950" y="637"/>
                  </a:lnTo>
                  <a:lnTo>
                    <a:pt x="894" y="656"/>
                  </a:lnTo>
                  <a:lnTo>
                    <a:pt x="840" y="683"/>
                  </a:lnTo>
                  <a:lnTo>
                    <a:pt x="792" y="716"/>
                  </a:lnTo>
                  <a:lnTo>
                    <a:pt x="747" y="755"/>
                  </a:lnTo>
                  <a:lnTo>
                    <a:pt x="747" y="756"/>
                  </a:lnTo>
                  <a:lnTo>
                    <a:pt x="709" y="800"/>
                  </a:lnTo>
                  <a:lnTo>
                    <a:pt x="676" y="849"/>
                  </a:lnTo>
                  <a:lnTo>
                    <a:pt x="649" y="901"/>
                  </a:lnTo>
                  <a:lnTo>
                    <a:pt x="630" y="958"/>
                  </a:lnTo>
                  <a:lnTo>
                    <a:pt x="616" y="1019"/>
                  </a:lnTo>
                  <a:lnTo>
                    <a:pt x="613" y="1081"/>
                  </a:lnTo>
                  <a:lnTo>
                    <a:pt x="616" y="1143"/>
                  </a:lnTo>
                  <a:lnTo>
                    <a:pt x="630" y="1203"/>
                  </a:lnTo>
                  <a:lnTo>
                    <a:pt x="649" y="1260"/>
                  </a:lnTo>
                  <a:lnTo>
                    <a:pt x="676" y="1314"/>
                  </a:lnTo>
                  <a:lnTo>
                    <a:pt x="709" y="1363"/>
                  </a:lnTo>
                  <a:lnTo>
                    <a:pt x="747" y="1406"/>
                  </a:lnTo>
                  <a:lnTo>
                    <a:pt x="792" y="1445"/>
                  </a:lnTo>
                  <a:lnTo>
                    <a:pt x="840" y="1480"/>
                  </a:lnTo>
                  <a:lnTo>
                    <a:pt x="894" y="1506"/>
                  </a:lnTo>
                  <a:lnTo>
                    <a:pt x="950" y="1526"/>
                  </a:lnTo>
                  <a:lnTo>
                    <a:pt x="1010" y="1538"/>
                  </a:lnTo>
                  <a:lnTo>
                    <a:pt x="1073" y="1542"/>
                  </a:lnTo>
                  <a:lnTo>
                    <a:pt x="1135" y="1538"/>
                  </a:lnTo>
                  <a:lnTo>
                    <a:pt x="1195" y="1526"/>
                  </a:lnTo>
                  <a:lnTo>
                    <a:pt x="1252" y="1506"/>
                  </a:lnTo>
                  <a:lnTo>
                    <a:pt x="1304" y="1480"/>
                  </a:lnTo>
                  <a:lnTo>
                    <a:pt x="1353" y="1445"/>
                  </a:lnTo>
                  <a:lnTo>
                    <a:pt x="1398" y="1406"/>
                  </a:lnTo>
                  <a:lnTo>
                    <a:pt x="1398" y="1406"/>
                  </a:lnTo>
                  <a:lnTo>
                    <a:pt x="1437" y="1361"/>
                  </a:lnTo>
                  <a:lnTo>
                    <a:pt x="1470" y="1314"/>
                  </a:lnTo>
                  <a:lnTo>
                    <a:pt x="1497" y="1260"/>
                  </a:lnTo>
                  <a:lnTo>
                    <a:pt x="1516" y="1203"/>
                  </a:lnTo>
                  <a:lnTo>
                    <a:pt x="1529" y="1143"/>
                  </a:lnTo>
                  <a:lnTo>
                    <a:pt x="1532" y="1081"/>
                  </a:lnTo>
                  <a:lnTo>
                    <a:pt x="1529" y="1019"/>
                  </a:lnTo>
                  <a:lnTo>
                    <a:pt x="1516" y="958"/>
                  </a:lnTo>
                  <a:lnTo>
                    <a:pt x="1497" y="901"/>
                  </a:lnTo>
                  <a:lnTo>
                    <a:pt x="1470" y="849"/>
                  </a:lnTo>
                  <a:lnTo>
                    <a:pt x="1437" y="800"/>
                  </a:lnTo>
                  <a:lnTo>
                    <a:pt x="1398" y="756"/>
                  </a:lnTo>
                  <a:lnTo>
                    <a:pt x="1398" y="755"/>
                  </a:lnTo>
                  <a:lnTo>
                    <a:pt x="1353" y="716"/>
                  </a:lnTo>
                  <a:lnTo>
                    <a:pt x="1306" y="683"/>
                  </a:lnTo>
                  <a:lnTo>
                    <a:pt x="1252" y="656"/>
                  </a:lnTo>
                  <a:lnTo>
                    <a:pt x="1195" y="637"/>
                  </a:lnTo>
                  <a:lnTo>
                    <a:pt x="1135" y="625"/>
                  </a:lnTo>
                  <a:lnTo>
                    <a:pt x="1073" y="620"/>
                  </a:lnTo>
                  <a:close/>
                  <a:moveTo>
                    <a:pt x="1073" y="0"/>
                  </a:moveTo>
                  <a:lnTo>
                    <a:pt x="1170" y="4"/>
                  </a:lnTo>
                  <a:lnTo>
                    <a:pt x="1265" y="16"/>
                  </a:lnTo>
                  <a:lnTo>
                    <a:pt x="1358" y="39"/>
                  </a:lnTo>
                  <a:lnTo>
                    <a:pt x="1447" y="67"/>
                  </a:lnTo>
                  <a:lnTo>
                    <a:pt x="1532" y="103"/>
                  </a:lnTo>
                  <a:lnTo>
                    <a:pt x="1614" y="146"/>
                  </a:lnTo>
                  <a:lnTo>
                    <a:pt x="1692" y="196"/>
                  </a:lnTo>
                  <a:lnTo>
                    <a:pt x="1764" y="253"/>
                  </a:lnTo>
                  <a:lnTo>
                    <a:pt x="1832" y="314"/>
                  </a:lnTo>
                  <a:lnTo>
                    <a:pt x="1832" y="314"/>
                  </a:lnTo>
                  <a:lnTo>
                    <a:pt x="1893" y="383"/>
                  </a:lnTo>
                  <a:lnTo>
                    <a:pt x="1950" y="454"/>
                  </a:lnTo>
                  <a:lnTo>
                    <a:pt x="1999" y="532"/>
                  </a:lnTo>
                  <a:lnTo>
                    <a:pt x="2043" y="614"/>
                  </a:lnTo>
                  <a:lnTo>
                    <a:pt x="2080" y="699"/>
                  </a:lnTo>
                  <a:lnTo>
                    <a:pt x="2108" y="789"/>
                  </a:lnTo>
                  <a:lnTo>
                    <a:pt x="2129" y="882"/>
                  </a:lnTo>
                  <a:lnTo>
                    <a:pt x="2143" y="977"/>
                  </a:lnTo>
                  <a:lnTo>
                    <a:pt x="2147" y="1075"/>
                  </a:lnTo>
                  <a:lnTo>
                    <a:pt x="2147" y="1078"/>
                  </a:lnTo>
                  <a:lnTo>
                    <a:pt x="2147" y="1081"/>
                  </a:lnTo>
                  <a:lnTo>
                    <a:pt x="2143" y="1161"/>
                  </a:lnTo>
                  <a:lnTo>
                    <a:pt x="2132" y="1245"/>
                  </a:lnTo>
                  <a:lnTo>
                    <a:pt x="2114" y="1329"/>
                  </a:lnTo>
                  <a:lnTo>
                    <a:pt x="2089" y="1415"/>
                  </a:lnTo>
                  <a:lnTo>
                    <a:pt x="2059" y="1503"/>
                  </a:lnTo>
                  <a:lnTo>
                    <a:pt x="2025" y="1592"/>
                  </a:lnTo>
                  <a:lnTo>
                    <a:pt x="1985" y="1681"/>
                  </a:lnTo>
                  <a:lnTo>
                    <a:pt x="1941" y="1772"/>
                  </a:lnTo>
                  <a:lnTo>
                    <a:pt x="1905" y="1871"/>
                  </a:lnTo>
                  <a:lnTo>
                    <a:pt x="1864" y="1973"/>
                  </a:lnTo>
                  <a:lnTo>
                    <a:pt x="1814" y="2076"/>
                  </a:lnTo>
                  <a:lnTo>
                    <a:pt x="1759" y="2179"/>
                  </a:lnTo>
                  <a:lnTo>
                    <a:pt x="1701" y="2282"/>
                  </a:lnTo>
                  <a:lnTo>
                    <a:pt x="1637" y="2385"/>
                  </a:lnTo>
                  <a:lnTo>
                    <a:pt x="1568" y="2491"/>
                  </a:lnTo>
                  <a:lnTo>
                    <a:pt x="1497" y="2596"/>
                  </a:lnTo>
                  <a:lnTo>
                    <a:pt x="1423" y="2699"/>
                  </a:lnTo>
                  <a:lnTo>
                    <a:pt x="1350" y="2798"/>
                  </a:lnTo>
                  <a:lnTo>
                    <a:pt x="1277" y="2893"/>
                  </a:lnTo>
                  <a:lnTo>
                    <a:pt x="1206" y="2985"/>
                  </a:lnTo>
                  <a:lnTo>
                    <a:pt x="1138" y="3071"/>
                  </a:lnTo>
                  <a:lnTo>
                    <a:pt x="1073" y="3152"/>
                  </a:lnTo>
                  <a:lnTo>
                    <a:pt x="1009" y="3071"/>
                  </a:lnTo>
                  <a:lnTo>
                    <a:pt x="940" y="2985"/>
                  </a:lnTo>
                  <a:lnTo>
                    <a:pt x="868" y="2895"/>
                  </a:lnTo>
                  <a:lnTo>
                    <a:pt x="797" y="2799"/>
                  </a:lnTo>
                  <a:lnTo>
                    <a:pt x="722" y="2699"/>
                  </a:lnTo>
                  <a:lnTo>
                    <a:pt x="650" y="2597"/>
                  </a:lnTo>
                  <a:lnTo>
                    <a:pt x="579" y="2491"/>
                  </a:lnTo>
                  <a:lnTo>
                    <a:pt x="509" y="2385"/>
                  </a:lnTo>
                  <a:lnTo>
                    <a:pt x="446" y="2282"/>
                  </a:lnTo>
                  <a:lnTo>
                    <a:pt x="386" y="2179"/>
                  </a:lnTo>
                  <a:lnTo>
                    <a:pt x="333" y="2076"/>
                  </a:lnTo>
                  <a:lnTo>
                    <a:pt x="283" y="1973"/>
                  </a:lnTo>
                  <a:lnTo>
                    <a:pt x="242" y="1873"/>
                  </a:lnTo>
                  <a:lnTo>
                    <a:pt x="206" y="1772"/>
                  </a:lnTo>
                  <a:lnTo>
                    <a:pt x="161" y="1683"/>
                  </a:lnTo>
                  <a:lnTo>
                    <a:pt x="122" y="1593"/>
                  </a:lnTo>
                  <a:lnTo>
                    <a:pt x="86" y="1503"/>
                  </a:lnTo>
                  <a:lnTo>
                    <a:pt x="57" y="1415"/>
                  </a:lnTo>
                  <a:lnTo>
                    <a:pt x="33" y="1329"/>
                  </a:lnTo>
                  <a:lnTo>
                    <a:pt x="15" y="1243"/>
                  </a:lnTo>
                  <a:lnTo>
                    <a:pt x="3" y="1161"/>
                  </a:lnTo>
                  <a:lnTo>
                    <a:pt x="0" y="1081"/>
                  </a:lnTo>
                  <a:lnTo>
                    <a:pt x="0" y="1078"/>
                  </a:lnTo>
                  <a:lnTo>
                    <a:pt x="0" y="1075"/>
                  </a:lnTo>
                  <a:lnTo>
                    <a:pt x="4" y="976"/>
                  </a:lnTo>
                  <a:lnTo>
                    <a:pt x="16" y="882"/>
                  </a:lnTo>
                  <a:lnTo>
                    <a:pt x="39" y="789"/>
                  </a:lnTo>
                  <a:lnTo>
                    <a:pt x="67" y="699"/>
                  </a:lnTo>
                  <a:lnTo>
                    <a:pt x="103" y="614"/>
                  </a:lnTo>
                  <a:lnTo>
                    <a:pt x="146" y="532"/>
                  </a:lnTo>
                  <a:lnTo>
                    <a:pt x="195" y="454"/>
                  </a:lnTo>
                  <a:lnTo>
                    <a:pt x="252" y="383"/>
                  </a:lnTo>
                  <a:lnTo>
                    <a:pt x="313" y="314"/>
                  </a:lnTo>
                  <a:lnTo>
                    <a:pt x="382" y="253"/>
                  </a:lnTo>
                  <a:lnTo>
                    <a:pt x="453" y="196"/>
                  </a:lnTo>
                  <a:lnTo>
                    <a:pt x="531" y="146"/>
                  </a:lnTo>
                  <a:lnTo>
                    <a:pt x="613" y="103"/>
                  </a:lnTo>
                  <a:lnTo>
                    <a:pt x="698" y="67"/>
                  </a:lnTo>
                  <a:lnTo>
                    <a:pt x="788" y="39"/>
                  </a:lnTo>
                  <a:lnTo>
                    <a:pt x="880" y="16"/>
                  </a:lnTo>
                  <a:lnTo>
                    <a:pt x="976" y="4"/>
                  </a:lnTo>
                  <a:lnTo>
                    <a:pt x="10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2" name="Rectangle 599">
              <a:extLst>
                <a:ext uri="{FF2B5EF4-FFF2-40B4-BE49-F238E27FC236}">
                  <a16:creationId xmlns:a16="http://schemas.microsoft.com/office/drawing/2014/main" id="{94F6864B-3AFA-4E8F-8762-E43EA0360F77}"/>
                </a:ext>
              </a:extLst>
            </p:cNvPr>
            <p:cNvSpPr>
              <a:spLocks noChangeArrowheads="1"/>
            </p:cNvSpPr>
            <p:nvPr/>
          </p:nvSpPr>
          <p:spPr bwMode="auto">
            <a:xfrm>
              <a:off x="2659" y="1960"/>
              <a:ext cx="1" cy="1"/>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33" name="RBContent4">
            <a:extLst>
              <a:ext uri="{FF2B5EF4-FFF2-40B4-BE49-F238E27FC236}">
                <a16:creationId xmlns:a16="http://schemas.microsoft.com/office/drawing/2014/main" id="{F000A8B4-9F56-4C22-A5D5-D12F86152A2A}"/>
              </a:ext>
            </a:extLst>
          </p:cNvPr>
          <p:cNvSpPr txBox="1">
            <a:spLocks/>
          </p:cNvSpPr>
          <p:nvPr/>
        </p:nvSpPr>
        <p:spPr>
          <a:xfrm>
            <a:off x="923925" y="4434568"/>
            <a:ext cx="3109957" cy="1052596"/>
          </a:xfrm>
          <a:prstGeom prst="rect">
            <a:avLst/>
          </a:prstGeom>
          <a:noFill/>
          <a:ln w="9525">
            <a:noFill/>
          </a:ln>
        </p:spPr>
        <p:txBody>
          <a:bodyPr vert="horz" wrap="square" lIns="0" tIns="0" rIns="0" bIns="0" rtlCol="0">
            <a:spAutoFit/>
          </a:bodyPr>
          <a:lstStyle/>
          <a:p>
            <a:pPr marL="0" lvl="1">
              <a:lnSpc>
                <a:spcPct val="90000"/>
              </a:lnSpc>
              <a:spcBef>
                <a:spcPts val="800"/>
              </a:spcBef>
              <a:buSzPct val="100000"/>
            </a:pPr>
            <a:r>
              <a:rPr lang="en-US" sz="1900" noProof="1">
                <a:solidFill>
                  <a:schemeClr val="accent6"/>
                </a:solidFill>
                <a:latin typeface="+mn-lt"/>
                <a:sym typeface="+mn-lt"/>
              </a:rPr>
              <a:t>Goals: </a:t>
            </a:r>
            <a:r>
              <a:rPr lang="en-US" sz="1900" b="0" noProof="1">
                <a:latin typeface="+mn-lt"/>
                <a:sym typeface="+mn-lt"/>
              </a:rPr>
              <a:t>Do preliminary analysis on selected KPIs, helping to better understand the data and </a:t>
            </a:r>
            <a:r>
              <a:rPr lang="en-US" sz="1900" b="0" noProof="1">
                <a:sym typeface="+mn-lt"/>
              </a:rPr>
              <a:t>serving as a basis </a:t>
            </a:r>
            <a:r>
              <a:rPr lang="en-US" sz="1900" b="0" noProof="1">
                <a:latin typeface="+mn-lt"/>
                <a:sym typeface="+mn-lt"/>
              </a:rPr>
              <a:t>of further investigations</a:t>
            </a:r>
            <a:endParaRPr lang="en-US" sz="1900" b="0" noProof="1">
              <a:sym typeface="+mn-lt"/>
            </a:endParaRPr>
          </a:p>
        </p:txBody>
      </p:sp>
      <p:sp>
        <p:nvSpPr>
          <p:cNvPr id="134" name="RBContent4">
            <a:extLst>
              <a:ext uri="{FF2B5EF4-FFF2-40B4-BE49-F238E27FC236}">
                <a16:creationId xmlns:a16="http://schemas.microsoft.com/office/drawing/2014/main" id="{8A01C559-B8CF-4434-AD75-B8EBDAF4F20F}"/>
              </a:ext>
            </a:extLst>
          </p:cNvPr>
          <p:cNvSpPr txBox="1">
            <a:spLocks/>
          </p:cNvSpPr>
          <p:nvPr/>
        </p:nvSpPr>
        <p:spPr>
          <a:xfrm>
            <a:off x="5162552" y="3433503"/>
            <a:ext cx="4010650" cy="2830005"/>
          </a:xfrm>
          <a:prstGeom prst="rect">
            <a:avLst/>
          </a:prstGeom>
          <a:noFill/>
          <a:ln w="9525">
            <a:noFill/>
          </a:ln>
        </p:spPr>
        <p:txBody>
          <a:bodyPr vert="horz" wrap="square" lIns="0" tIns="0" rIns="0" bIns="0" rtlCol="0">
            <a:spAutoFit/>
          </a:bodyPr>
          <a:lstStyle/>
          <a:p>
            <a:pPr marL="177429" lvl="2">
              <a:lnSpc>
                <a:spcPct val="90000"/>
              </a:lnSpc>
              <a:spcBef>
                <a:spcPts val="1800"/>
              </a:spcBef>
              <a:buSzPct val="100000"/>
            </a:pPr>
            <a:r>
              <a:rPr lang="en-US" sz="1900" noProof="1">
                <a:latin typeface="+mj-lt"/>
                <a:sym typeface="+mn-lt"/>
              </a:rPr>
              <a:t>1. How much do countries spend on education?</a:t>
            </a:r>
          </a:p>
          <a:p>
            <a:pPr marL="177429" lvl="2">
              <a:lnSpc>
                <a:spcPct val="90000"/>
              </a:lnSpc>
              <a:spcBef>
                <a:spcPts val="1800"/>
              </a:spcBef>
              <a:buSzPct val="100000"/>
            </a:pPr>
            <a:r>
              <a:rPr lang="en-US" sz="1900" noProof="1">
                <a:latin typeface="+mj-lt"/>
                <a:sym typeface="+mn-lt"/>
              </a:rPr>
              <a:t>2. Is there a correlation between the spending on R&amp;D per county and the performance of universities?</a:t>
            </a:r>
          </a:p>
          <a:p>
            <a:pPr marL="177429" lvl="2">
              <a:lnSpc>
                <a:spcPct val="90000"/>
              </a:lnSpc>
              <a:spcBef>
                <a:spcPts val="1800"/>
              </a:spcBef>
              <a:buSzPct val="100000"/>
            </a:pPr>
            <a:r>
              <a:rPr lang="en-US" sz="1900" noProof="1">
                <a:latin typeface="+mj-lt"/>
                <a:sym typeface="+mn-lt"/>
              </a:rPr>
              <a:t>3. Is there a relationship between % of </a:t>
            </a:r>
            <a:r>
              <a:rPr lang="hu-HU" sz="1900" noProof="1">
                <a:latin typeface="+mj-lt"/>
                <a:sym typeface="+mn-lt"/>
              </a:rPr>
              <a:t>international</a:t>
            </a:r>
            <a:r>
              <a:rPr lang="en-US" sz="1900" noProof="1">
                <a:latin typeface="+mj-lt"/>
                <a:sym typeface="+mn-lt"/>
              </a:rPr>
              <a:t> students, % of female students to the performance of universities?</a:t>
            </a:r>
            <a:endParaRPr lang="en-US" sz="1900" b="0" noProof="1">
              <a:latin typeface="+mj-lt"/>
              <a:sym typeface="+mn-lt"/>
            </a:endParaRPr>
          </a:p>
        </p:txBody>
      </p:sp>
      <p:sp>
        <p:nvSpPr>
          <p:cNvPr id="144" name="RBContent4">
            <a:extLst>
              <a:ext uri="{FF2B5EF4-FFF2-40B4-BE49-F238E27FC236}">
                <a16:creationId xmlns:a16="http://schemas.microsoft.com/office/drawing/2014/main" id="{65A43970-513A-480F-8B6D-843BDDC2164A}"/>
              </a:ext>
            </a:extLst>
          </p:cNvPr>
          <p:cNvSpPr txBox="1">
            <a:spLocks/>
          </p:cNvSpPr>
          <p:nvPr/>
        </p:nvSpPr>
        <p:spPr>
          <a:xfrm>
            <a:off x="5118196" y="3401055"/>
            <a:ext cx="3968305" cy="207749"/>
          </a:xfrm>
          <a:prstGeom prst="rect">
            <a:avLst/>
          </a:prstGeom>
          <a:noFill/>
          <a:ln w="9525">
            <a:noFill/>
          </a:ln>
        </p:spPr>
        <p:txBody>
          <a:bodyPr vert="horz" wrap="square" lIns="0" tIns="0" rIns="0" bIns="0" rtlCol="0">
            <a:spAutoFit/>
          </a:bodyPr>
          <a:lstStyle/>
          <a:p>
            <a:pPr>
              <a:lnSpc>
                <a:spcPct val="90000"/>
              </a:lnSpc>
              <a:spcBef>
                <a:spcPts val="800"/>
              </a:spcBef>
              <a:buSzPct val="100000"/>
            </a:pPr>
            <a:endParaRPr lang="en-US" sz="1500" b="0" dirty="0">
              <a:sym typeface="+mn-lt"/>
            </a:endParaRPr>
          </a:p>
        </p:txBody>
      </p:sp>
      <p:sp>
        <p:nvSpPr>
          <p:cNvPr id="37" name="Rectangle 36">
            <a:extLst>
              <a:ext uri="{FF2B5EF4-FFF2-40B4-BE49-F238E27FC236}">
                <a16:creationId xmlns:a16="http://schemas.microsoft.com/office/drawing/2014/main" id="{6C8854AD-DC55-4CDA-BDBD-E09C849F6D85}"/>
              </a:ext>
            </a:extLst>
          </p:cNvPr>
          <p:cNvSpPr/>
          <p:nvPr/>
        </p:nvSpPr>
        <p:spPr>
          <a:xfrm>
            <a:off x="3271882" y="2519770"/>
            <a:ext cx="790575" cy="167866"/>
          </a:xfrm>
          <a:prstGeom prst="rect">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nvGrpSpPr>
          <p:cNvPr id="38" name="Group 37">
            <a:extLst>
              <a:ext uri="{FF2B5EF4-FFF2-40B4-BE49-F238E27FC236}">
                <a16:creationId xmlns:a16="http://schemas.microsoft.com/office/drawing/2014/main" id="{5B2657FE-EF87-4CC0-A018-1B6020E8CEDB}"/>
              </a:ext>
            </a:extLst>
          </p:cNvPr>
          <p:cNvGrpSpPr>
            <a:grpSpLocks noChangeAspect="1"/>
          </p:cNvGrpSpPr>
          <p:nvPr/>
        </p:nvGrpSpPr>
        <p:grpSpPr>
          <a:xfrm>
            <a:off x="3285703" y="2206126"/>
            <a:ext cx="777344" cy="541725"/>
            <a:chOff x="1717676" y="3959226"/>
            <a:chExt cx="3571875" cy="2489200"/>
          </a:xfrm>
          <a:solidFill>
            <a:schemeClr val="accent6"/>
          </a:solidFill>
        </p:grpSpPr>
        <p:sp>
          <p:nvSpPr>
            <p:cNvPr id="39" name="Line 5">
              <a:extLst>
                <a:ext uri="{FF2B5EF4-FFF2-40B4-BE49-F238E27FC236}">
                  <a16:creationId xmlns:a16="http://schemas.microsoft.com/office/drawing/2014/main" id="{B65A22A1-EC8C-4161-9368-4FD8D6ADC130}"/>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0" name="Line 6">
              <a:extLst>
                <a:ext uri="{FF2B5EF4-FFF2-40B4-BE49-F238E27FC236}">
                  <a16:creationId xmlns:a16="http://schemas.microsoft.com/office/drawing/2014/main" id="{A504BE6F-C6D1-4BF1-9732-FEE492DB1802}"/>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1" name="Freeform 16">
              <a:extLst>
                <a:ext uri="{FF2B5EF4-FFF2-40B4-BE49-F238E27FC236}">
                  <a16:creationId xmlns:a16="http://schemas.microsoft.com/office/drawing/2014/main" id="{F2B3C768-AA9F-4C89-851C-A498B3BA3CEC}"/>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2" name="Freeform 17">
              <a:extLst>
                <a:ext uri="{FF2B5EF4-FFF2-40B4-BE49-F238E27FC236}">
                  <a16:creationId xmlns:a16="http://schemas.microsoft.com/office/drawing/2014/main" id="{96550268-CEAC-435A-8AED-51A250C9D6A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3" name="Freeform 18">
              <a:extLst>
                <a:ext uri="{FF2B5EF4-FFF2-40B4-BE49-F238E27FC236}">
                  <a16:creationId xmlns:a16="http://schemas.microsoft.com/office/drawing/2014/main" id="{AF80EFCC-5E88-434B-9A6B-B46A85375060}"/>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4" name="Freeform 19">
              <a:extLst>
                <a:ext uri="{FF2B5EF4-FFF2-40B4-BE49-F238E27FC236}">
                  <a16:creationId xmlns:a16="http://schemas.microsoft.com/office/drawing/2014/main" id="{E305EB72-3FA3-4BCB-A180-32596B62AA46}"/>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5" name="Freeform 20">
              <a:extLst>
                <a:ext uri="{FF2B5EF4-FFF2-40B4-BE49-F238E27FC236}">
                  <a16:creationId xmlns:a16="http://schemas.microsoft.com/office/drawing/2014/main" id="{E1F63A7B-FFCC-4023-B993-F73AB1981227}"/>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6" name="Freeform 21">
              <a:extLst>
                <a:ext uri="{FF2B5EF4-FFF2-40B4-BE49-F238E27FC236}">
                  <a16:creationId xmlns:a16="http://schemas.microsoft.com/office/drawing/2014/main" id="{82398957-3CF7-493D-89E6-C2CD515284A0}"/>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Tree>
    <p:extLst>
      <p:ext uri="{BB962C8B-B14F-4D97-AF65-F5344CB8AC3E}">
        <p14:creationId xmlns:p14="http://schemas.microsoft.com/office/powerpoint/2010/main" val="248797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275201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We used 2 tables from the World University ranking dataset, enriched it from World Bank API,  and connected by country code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Data collected and utilized</a:t>
            </a:r>
          </a:p>
        </p:txBody>
      </p:sp>
      <p:sp>
        <p:nvSpPr>
          <p:cNvPr id="107" name="RbNavigator">
            <a:extLst>
              <a:ext uri="{FF2B5EF4-FFF2-40B4-BE49-F238E27FC236}">
                <a16:creationId xmlns:a16="http://schemas.microsoft.com/office/drawing/2014/main" id="{A73EFE3A-1803-4132-B2F5-C58AEB1DEBAC}"/>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A</a:t>
            </a:r>
          </a:p>
        </p:txBody>
      </p:sp>
      <p:sp>
        <p:nvSpPr>
          <p:cNvPr id="108" name="RbSticker">
            <a:extLst>
              <a:ext uri="{FF2B5EF4-FFF2-40B4-BE49-F238E27FC236}">
                <a16:creationId xmlns:a16="http://schemas.microsoft.com/office/drawing/2014/main" id="{113C8EC2-993B-496B-8CC0-0FA719FE9419}"/>
              </a:ext>
            </a:extLst>
          </p:cNvPr>
          <p:cNvSpPr txBox="1"/>
          <p:nvPr/>
        </p:nvSpPr>
        <p:spPr>
          <a:xfrm>
            <a:off x="1081088" y="260349"/>
            <a:ext cx="160460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Goals and data collected</a:t>
            </a:r>
          </a:p>
        </p:txBody>
      </p:sp>
      <p:sp>
        <p:nvSpPr>
          <p:cNvPr id="2" name="Title22">
            <a:extLst>
              <a:ext uri="{FF2B5EF4-FFF2-40B4-BE49-F238E27FC236}">
                <a16:creationId xmlns:a16="http://schemas.microsoft.com/office/drawing/2014/main" id="{22392CDB-012F-42B8-932E-EC21933B52AC}"/>
              </a:ext>
            </a:extLst>
          </p:cNvPr>
          <p:cNvSpPr txBox="1"/>
          <p:nvPr/>
        </p:nvSpPr>
        <p:spPr>
          <a:xfrm>
            <a:off x="736600" y="2252634"/>
            <a:ext cx="4721225"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700" dirty="0">
                <a:solidFill>
                  <a:schemeClr val="accent6"/>
                </a:solidFill>
                <a:latin typeface="+mn-lt"/>
                <a:cs typeface="Arial Narrow" pitchFamily="34" charset="0"/>
              </a:rPr>
              <a:t>World University Ranking dataset</a:t>
            </a:r>
          </a:p>
        </p:txBody>
      </p:sp>
      <p:cxnSp>
        <p:nvCxnSpPr>
          <p:cNvPr id="4" name="HorizontalLine4">
            <a:extLst>
              <a:ext uri="{FF2B5EF4-FFF2-40B4-BE49-F238E27FC236}">
                <a16:creationId xmlns:a16="http://schemas.microsoft.com/office/drawing/2014/main" id="{28547D8B-25D8-40C8-A0E3-6799AFE16309}"/>
              </a:ext>
            </a:extLst>
          </p:cNvPr>
          <p:cNvCxnSpPr>
            <a:cxnSpLocks/>
          </p:cNvCxnSpPr>
          <p:nvPr/>
        </p:nvCxnSpPr>
        <p:spPr>
          <a:xfrm>
            <a:off x="736600" y="2576683"/>
            <a:ext cx="5627158"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6" name="RBContent36">
            <a:extLst>
              <a:ext uri="{FF2B5EF4-FFF2-40B4-BE49-F238E27FC236}">
                <a16:creationId xmlns:a16="http://schemas.microsoft.com/office/drawing/2014/main" id="{24ACC6FF-F8C5-46A1-AD71-8227DC893345}"/>
              </a:ext>
            </a:extLst>
          </p:cNvPr>
          <p:cNvSpPr txBox="1">
            <a:spLocks/>
          </p:cNvSpPr>
          <p:nvPr/>
        </p:nvSpPr>
        <p:spPr>
          <a:xfrm>
            <a:off x="736601"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1.</a:t>
            </a:r>
            <a:endParaRPr lang="en-US" sz="1900" b="0" dirty="0">
              <a:latin typeface="+mn-lt"/>
              <a:sym typeface="+mn-lt"/>
            </a:endParaRPr>
          </a:p>
        </p:txBody>
      </p:sp>
      <p:sp>
        <p:nvSpPr>
          <p:cNvPr id="47" name="RBContent47">
            <a:extLst>
              <a:ext uri="{FF2B5EF4-FFF2-40B4-BE49-F238E27FC236}">
                <a16:creationId xmlns:a16="http://schemas.microsoft.com/office/drawing/2014/main" id="{33EEFAD3-0F52-4468-B986-37F166E83A88}"/>
              </a:ext>
            </a:extLst>
          </p:cNvPr>
          <p:cNvSpPr txBox="1">
            <a:spLocks/>
          </p:cNvSpPr>
          <p:nvPr/>
        </p:nvSpPr>
        <p:spPr>
          <a:xfrm>
            <a:off x="3645430"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2. </a:t>
            </a:r>
            <a:endParaRPr lang="en-US" sz="1900" b="0" dirty="0">
              <a:latin typeface="+mn-lt"/>
              <a:sym typeface="+mn-lt"/>
            </a:endParaRPr>
          </a:p>
        </p:txBody>
      </p:sp>
      <p:sp>
        <p:nvSpPr>
          <p:cNvPr id="9" name="Title99">
            <a:extLst>
              <a:ext uri="{FF2B5EF4-FFF2-40B4-BE49-F238E27FC236}">
                <a16:creationId xmlns:a16="http://schemas.microsoft.com/office/drawing/2014/main" id="{94BE9C72-7B24-4CEC-8ED8-DCCA44898631}"/>
              </a:ext>
            </a:extLst>
          </p:cNvPr>
          <p:cNvSpPr txBox="1"/>
          <p:nvPr/>
        </p:nvSpPr>
        <p:spPr>
          <a:xfrm>
            <a:off x="6554259" y="2252634"/>
            <a:ext cx="2718329"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700" dirty="0">
                <a:solidFill>
                  <a:schemeClr val="accent6"/>
                </a:solidFill>
                <a:latin typeface="+mn-lt"/>
                <a:cs typeface="Arial Narrow" pitchFamily="34" charset="0"/>
              </a:rPr>
              <a:t>World Bank API	</a:t>
            </a:r>
          </a:p>
        </p:txBody>
      </p:sp>
      <p:cxnSp>
        <p:nvCxnSpPr>
          <p:cNvPr id="11" name="HorizontalLine11">
            <a:extLst>
              <a:ext uri="{FF2B5EF4-FFF2-40B4-BE49-F238E27FC236}">
                <a16:creationId xmlns:a16="http://schemas.microsoft.com/office/drawing/2014/main" id="{34EA910E-5D61-4508-AB41-FE023E79C3D4}"/>
              </a:ext>
            </a:extLst>
          </p:cNvPr>
          <p:cNvCxnSpPr/>
          <p:nvPr/>
        </p:nvCxnSpPr>
        <p:spPr>
          <a:xfrm>
            <a:off x="6554259" y="2576683"/>
            <a:ext cx="2718329"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2" name="RBContent47">
            <a:extLst>
              <a:ext uri="{FF2B5EF4-FFF2-40B4-BE49-F238E27FC236}">
                <a16:creationId xmlns:a16="http://schemas.microsoft.com/office/drawing/2014/main" id="{7F18DD51-67D9-4DAB-970A-237708774C52}"/>
              </a:ext>
            </a:extLst>
          </p:cNvPr>
          <p:cNvSpPr txBox="1">
            <a:spLocks/>
          </p:cNvSpPr>
          <p:nvPr/>
        </p:nvSpPr>
        <p:spPr>
          <a:xfrm>
            <a:off x="6554260"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3. </a:t>
            </a:r>
            <a:endParaRPr lang="en-US" sz="1900" b="0" dirty="0">
              <a:latin typeface="+mn-lt"/>
              <a:sym typeface="+mn-lt"/>
            </a:endParaRPr>
          </a:p>
        </p:txBody>
      </p:sp>
      <p:grpSp>
        <p:nvGrpSpPr>
          <p:cNvPr id="89" name="Group 88">
            <a:extLst>
              <a:ext uri="{FF2B5EF4-FFF2-40B4-BE49-F238E27FC236}">
                <a16:creationId xmlns:a16="http://schemas.microsoft.com/office/drawing/2014/main" id="{1D4F0D29-7EDF-4877-A22D-9F339EE101C3}"/>
              </a:ext>
            </a:extLst>
          </p:cNvPr>
          <p:cNvGrpSpPr/>
          <p:nvPr/>
        </p:nvGrpSpPr>
        <p:grpSpPr>
          <a:xfrm>
            <a:off x="3581929" y="3073535"/>
            <a:ext cx="2845329" cy="2937955"/>
            <a:chOff x="3581929" y="3073536"/>
            <a:chExt cx="2845329" cy="2616288"/>
          </a:xfrm>
        </p:grpSpPr>
        <p:cxnSp>
          <p:nvCxnSpPr>
            <p:cNvPr id="16" name="Straight Connector 15">
              <a:extLst>
                <a:ext uri="{FF2B5EF4-FFF2-40B4-BE49-F238E27FC236}">
                  <a16:creationId xmlns:a16="http://schemas.microsoft.com/office/drawing/2014/main" id="{AB88AB01-BFF1-4385-A96F-49D50C109B25}"/>
                </a:ext>
              </a:extLst>
            </p:cNvPr>
            <p:cNvCxnSpPr/>
            <p:nvPr/>
          </p:nvCxnSpPr>
          <p:spPr>
            <a:xfrm>
              <a:off x="3581929" y="3073536"/>
              <a:ext cx="0" cy="2616288"/>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7D4F18D-0E52-4B69-97C1-7FAF961A6839}"/>
                </a:ext>
              </a:extLst>
            </p:cNvPr>
            <p:cNvCxnSpPr/>
            <p:nvPr/>
          </p:nvCxnSpPr>
          <p:spPr>
            <a:xfrm>
              <a:off x="6427258" y="3073536"/>
              <a:ext cx="0" cy="2616288"/>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17" name="Arrow: Bent-Up 16">
            <a:extLst>
              <a:ext uri="{FF2B5EF4-FFF2-40B4-BE49-F238E27FC236}">
                <a16:creationId xmlns:a16="http://schemas.microsoft.com/office/drawing/2014/main" id="{16D843EC-00DD-4DFE-A49D-75516434823E}"/>
              </a:ext>
            </a:extLst>
          </p:cNvPr>
          <p:cNvSpPr/>
          <p:nvPr/>
        </p:nvSpPr>
        <p:spPr>
          <a:xfrm>
            <a:off x="2038350" y="5885445"/>
            <a:ext cx="6238862" cy="376248"/>
          </a:xfrm>
          <a:prstGeom prst="bentUpArrow">
            <a:avLst>
              <a:gd name="adj1" fmla="val 50000"/>
              <a:gd name="adj2" fmla="val 50000"/>
              <a:gd name="adj3" fmla="val 25000"/>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6" name="Arrow: Bent-Up 55">
            <a:extLst>
              <a:ext uri="{FF2B5EF4-FFF2-40B4-BE49-F238E27FC236}">
                <a16:creationId xmlns:a16="http://schemas.microsoft.com/office/drawing/2014/main" id="{5CAB21FA-5181-46B5-971A-1004DA864849}"/>
              </a:ext>
            </a:extLst>
          </p:cNvPr>
          <p:cNvSpPr/>
          <p:nvPr/>
        </p:nvSpPr>
        <p:spPr>
          <a:xfrm>
            <a:off x="2038349" y="5885445"/>
            <a:ext cx="3176845" cy="376248"/>
          </a:xfrm>
          <a:prstGeom prst="bentUpArrow">
            <a:avLst>
              <a:gd name="adj1" fmla="val 50000"/>
              <a:gd name="adj2" fmla="val 49062"/>
              <a:gd name="adj3" fmla="val 25000"/>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8" name="RBContent36">
            <a:extLst>
              <a:ext uri="{FF2B5EF4-FFF2-40B4-BE49-F238E27FC236}">
                <a16:creationId xmlns:a16="http://schemas.microsoft.com/office/drawing/2014/main" id="{E5177565-1838-4959-8943-E57811F3C367}"/>
              </a:ext>
            </a:extLst>
          </p:cNvPr>
          <p:cNvSpPr txBox="1">
            <a:spLocks/>
          </p:cNvSpPr>
          <p:nvPr/>
        </p:nvSpPr>
        <p:spPr>
          <a:xfrm>
            <a:off x="1010921" y="2576683"/>
            <a:ext cx="2380508" cy="524553"/>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Times Higher Education World University table</a:t>
            </a:r>
            <a:endParaRPr lang="en-US" sz="1500" b="0" dirty="0">
              <a:latin typeface="+mn-lt"/>
              <a:sym typeface="+mn-lt"/>
            </a:endParaRPr>
          </a:p>
        </p:txBody>
      </p:sp>
      <p:sp>
        <p:nvSpPr>
          <p:cNvPr id="59" name="RBContent47">
            <a:extLst>
              <a:ext uri="{FF2B5EF4-FFF2-40B4-BE49-F238E27FC236}">
                <a16:creationId xmlns:a16="http://schemas.microsoft.com/office/drawing/2014/main" id="{DA0173BE-4CCB-43BE-977E-E0B2D9CACE40}"/>
              </a:ext>
            </a:extLst>
          </p:cNvPr>
          <p:cNvSpPr txBox="1">
            <a:spLocks/>
          </p:cNvSpPr>
          <p:nvPr/>
        </p:nvSpPr>
        <p:spPr>
          <a:xfrm>
            <a:off x="3919751" y="2576683"/>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 Education Expenditure table</a:t>
            </a:r>
            <a:endParaRPr lang="en-US" sz="1500" b="0" dirty="0">
              <a:latin typeface="+mn-lt"/>
              <a:sym typeface="+mn-lt"/>
            </a:endParaRPr>
          </a:p>
        </p:txBody>
      </p:sp>
      <p:sp>
        <p:nvSpPr>
          <p:cNvPr id="60" name="RBContent47">
            <a:extLst>
              <a:ext uri="{FF2B5EF4-FFF2-40B4-BE49-F238E27FC236}">
                <a16:creationId xmlns:a16="http://schemas.microsoft.com/office/drawing/2014/main" id="{C50418AE-7A5E-4174-99E8-56B16C26E9DB}"/>
              </a:ext>
            </a:extLst>
          </p:cNvPr>
          <p:cNvSpPr txBox="1">
            <a:spLocks/>
          </p:cNvSpPr>
          <p:nvPr/>
        </p:nvSpPr>
        <p:spPr>
          <a:xfrm>
            <a:off x="6828580" y="2576683"/>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R&amp;D expenditure table</a:t>
            </a:r>
            <a:endParaRPr lang="en-US" sz="1500" b="0" dirty="0">
              <a:latin typeface="+mn-lt"/>
              <a:sym typeface="+mn-lt"/>
            </a:endParaRPr>
          </a:p>
        </p:txBody>
      </p:sp>
      <p:grpSp>
        <p:nvGrpSpPr>
          <p:cNvPr id="19" name="Group 18">
            <a:extLst>
              <a:ext uri="{FF2B5EF4-FFF2-40B4-BE49-F238E27FC236}">
                <a16:creationId xmlns:a16="http://schemas.microsoft.com/office/drawing/2014/main" id="{F535D65B-3B92-4F71-8BB6-65BFC7201CC5}"/>
              </a:ext>
            </a:extLst>
          </p:cNvPr>
          <p:cNvGrpSpPr/>
          <p:nvPr/>
        </p:nvGrpSpPr>
        <p:grpSpPr>
          <a:xfrm>
            <a:off x="3777771" y="6239397"/>
            <a:ext cx="2760018" cy="372204"/>
            <a:chOff x="4441217" y="6239397"/>
            <a:chExt cx="2760018" cy="372204"/>
          </a:xfrm>
        </p:grpSpPr>
        <p:sp>
          <p:nvSpPr>
            <p:cNvPr id="63" name="RBContent47">
              <a:extLst>
                <a:ext uri="{FF2B5EF4-FFF2-40B4-BE49-F238E27FC236}">
                  <a16:creationId xmlns:a16="http://schemas.microsoft.com/office/drawing/2014/main" id="{8A206EF9-1DC9-4D0C-9401-BEFB0151EF18}"/>
                </a:ext>
              </a:extLst>
            </p:cNvPr>
            <p:cNvSpPr txBox="1">
              <a:spLocks/>
            </p:cNvSpPr>
            <p:nvPr/>
          </p:nvSpPr>
          <p:spPr>
            <a:xfrm>
              <a:off x="4441217" y="6239397"/>
              <a:ext cx="35507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1. </a:t>
              </a:r>
              <a:endParaRPr lang="en-US" sz="1900" b="0" dirty="0">
                <a:latin typeface="+mn-lt"/>
                <a:sym typeface="+mn-lt"/>
              </a:endParaRPr>
            </a:p>
          </p:txBody>
        </p:sp>
        <p:sp>
          <p:nvSpPr>
            <p:cNvPr id="64" name="RBContent47">
              <a:extLst>
                <a:ext uri="{FF2B5EF4-FFF2-40B4-BE49-F238E27FC236}">
                  <a16:creationId xmlns:a16="http://schemas.microsoft.com/office/drawing/2014/main" id="{B7BB298B-FB38-47A9-B5D1-A7F506F4BAE9}"/>
                </a:ext>
              </a:extLst>
            </p:cNvPr>
            <p:cNvSpPr txBox="1">
              <a:spLocks/>
            </p:cNvSpPr>
            <p:nvPr/>
          </p:nvSpPr>
          <p:spPr>
            <a:xfrm>
              <a:off x="4820727" y="6239397"/>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Country codes per country</a:t>
              </a:r>
              <a:endParaRPr lang="en-US" sz="1500" b="0" dirty="0">
                <a:latin typeface="+mn-lt"/>
                <a:sym typeface="+mn-lt"/>
              </a:endParaRPr>
            </a:p>
          </p:txBody>
        </p:sp>
      </p:grpSp>
      <p:sp>
        <p:nvSpPr>
          <p:cNvPr id="66" name="RBContent36">
            <a:extLst>
              <a:ext uri="{FF2B5EF4-FFF2-40B4-BE49-F238E27FC236}">
                <a16:creationId xmlns:a16="http://schemas.microsoft.com/office/drawing/2014/main" id="{7E414E25-AC7C-46FB-81E6-D7C356038657}"/>
              </a:ext>
            </a:extLst>
          </p:cNvPr>
          <p:cNvSpPr txBox="1">
            <a:spLocks/>
          </p:cNvSpPr>
          <p:nvPr/>
        </p:nvSpPr>
        <p:spPr>
          <a:xfrm>
            <a:off x="1010921" y="3125320"/>
            <a:ext cx="2380508" cy="1822344"/>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panose="020B0606020202030204" pitchFamily="34" charset="0"/>
              <a:buChar char="&gt;"/>
            </a:pPr>
            <a:r>
              <a:rPr lang="en-US" sz="1500" b="0" dirty="0"/>
              <a:t>List of </a:t>
            </a:r>
            <a:r>
              <a:rPr lang="en-US" sz="1500" b="0" dirty="0" err="1"/>
              <a:t>c.800</a:t>
            </a:r>
            <a:r>
              <a:rPr lang="en-US" sz="1500" b="0" dirty="0"/>
              <a:t> Universities from 72 countries, with their total score, corresponding ranking, and various variables and attributes</a:t>
            </a:r>
          </a:p>
          <a:p>
            <a:pPr marL="164571" lvl="1" indent="-164571">
              <a:lnSpc>
                <a:spcPct val="90000"/>
              </a:lnSpc>
              <a:spcBef>
                <a:spcPts val="400"/>
              </a:spcBef>
              <a:buSzPct val="100000"/>
              <a:buFont typeface="Arial Narrow" panose="020B0606020202030204" pitchFamily="34" charset="0"/>
              <a:buChar char="&gt;"/>
            </a:pPr>
            <a:r>
              <a:rPr lang="en-US" sz="1500" b="0" dirty="0"/>
              <a:t>Is one of the most influential and widely observed university measures</a:t>
            </a:r>
          </a:p>
        </p:txBody>
      </p:sp>
      <p:sp>
        <p:nvSpPr>
          <p:cNvPr id="67" name="RBContent47">
            <a:extLst>
              <a:ext uri="{FF2B5EF4-FFF2-40B4-BE49-F238E27FC236}">
                <a16:creationId xmlns:a16="http://schemas.microsoft.com/office/drawing/2014/main" id="{BC54C9BB-10B1-4C4B-83BB-F86ABDB97F20}"/>
              </a:ext>
            </a:extLst>
          </p:cNvPr>
          <p:cNvSpPr txBox="1">
            <a:spLocks/>
          </p:cNvSpPr>
          <p:nvPr/>
        </p:nvSpPr>
        <p:spPr>
          <a:xfrm>
            <a:off x="3672590" y="3125320"/>
            <a:ext cx="2654828" cy="2802100"/>
          </a:xfrm>
          <a:prstGeom prst="rect">
            <a:avLst/>
          </a:prstGeom>
          <a:noFill/>
          <a:ln w="9525">
            <a:noFill/>
          </a:ln>
        </p:spPr>
        <p:txBody>
          <a:bodyPr vert="horz" wrap="square" lIns="0" tIns="108000" rIns="0" bIns="0" rtlCol="0">
            <a:spAutoFit/>
          </a:bodyPr>
          <a:lstStyle/>
          <a:p>
            <a:pPr marL="142628" lvl="1" indent="-142628">
              <a:spcBef>
                <a:spcPts val="400"/>
              </a:spcBef>
              <a:buSzPct val="100000"/>
              <a:buFont typeface="Arial Narrow" panose="020B0606020202030204" pitchFamily="34" charset="0"/>
              <a:buChar char="&gt;"/>
            </a:pPr>
            <a:r>
              <a:rPr lang="en-US" sz="1500" b="0" dirty="0"/>
              <a:t>List of countries along with their spending on education as a percentage of GDP, bifurcated by</a:t>
            </a:r>
          </a:p>
          <a:p>
            <a:pPr marL="298628" lvl="2" indent="-144856">
              <a:spcBef>
                <a:spcPts val="400"/>
              </a:spcBef>
              <a:buSzPct val="100000"/>
              <a:buFont typeface="Arial Narrow" panose="020B0606020202030204" pitchFamily="34" charset="0"/>
              <a:buChar char="–"/>
            </a:pPr>
            <a:r>
              <a:rPr lang="en-US" sz="1500" b="0" dirty="0"/>
              <a:t>level of education (higher education and elementary education) </a:t>
            </a:r>
          </a:p>
          <a:p>
            <a:pPr marL="298628" lvl="2" indent="-144856">
              <a:spcBef>
                <a:spcPts val="400"/>
              </a:spcBef>
              <a:buSzPct val="100000"/>
              <a:buFont typeface="Arial Narrow" panose="020B0606020202030204" pitchFamily="34" charset="0"/>
              <a:buChar char="–"/>
            </a:pPr>
            <a:r>
              <a:rPr lang="en-US" sz="1500" b="0" dirty="0"/>
              <a:t>type of spending (total, public, private).</a:t>
            </a:r>
          </a:p>
          <a:p>
            <a:pPr marL="142628" lvl="1" indent="-142628">
              <a:spcBef>
                <a:spcPts val="400"/>
              </a:spcBef>
              <a:buSzPct val="100000"/>
              <a:buFont typeface="Arial Narrow" panose="020B0606020202030204" pitchFamily="34" charset="0"/>
              <a:buChar char="&gt;"/>
            </a:pPr>
            <a:r>
              <a:rPr lang="en-US" sz="1500" b="0" dirty="0"/>
              <a:t>Available for multiple years – We focused on 2011 as its data is available in the Times Data table.</a:t>
            </a:r>
          </a:p>
        </p:txBody>
      </p:sp>
      <p:sp>
        <p:nvSpPr>
          <p:cNvPr id="111" name="RBContent47">
            <a:extLst>
              <a:ext uri="{FF2B5EF4-FFF2-40B4-BE49-F238E27FC236}">
                <a16:creationId xmlns:a16="http://schemas.microsoft.com/office/drawing/2014/main" id="{BAFE9672-8A6F-428A-B0E2-E4A400B10D6B}"/>
              </a:ext>
            </a:extLst>
          </p:cNvPr>
          <p:cNvSpPr txBox="1">
            <a:spLocks/>
          </p:cNvSpPr>
          <p:nvPr/>
        </p:nvSpPr>
        <p:spPr>
          <a:xfrm>
            <a:off x="6554260" y="3125320"/>
            <a:ext cx="2654828" cy="801552"/>
          </a:xfrm>
          <a:prstGeom prst="rect">
            <a:avLst/>
          </a:prstGeom>
          <a:noFill/>
          <a:ln w="9525">
            <a:noFill/>
          </a:ln>
        </p:spPr>
        <p:txBody>
          <a:bodyPr vert="horz" wrap="square" lIns="0" tIns="108000" rIns="0" bIns="0" rtlCol="0">
            <a:spAutoFit/>
          </a:bodyPr>
          <a:lstStyle/>
          <a:p>
            <a:pPr marL="142628" lvl="1" indent="-142628">
              <a:spcBef>
                <a:spcPts val="400"/>
              </a:spcBef>
              <a:buSzPct val="100000"/>
              <a:buFont typeface="Arial Narrow" panose="020B0606020202030204" pitchFamily="34" charset="0"/>
              <a:buChar char="&gt;"/>
            </a:pPr>
            <a:r>
              <a:rPr lang="en-US" sz="1500" b="0" dirty="0"/>
              <a:t>Contains the R&amp;D expenditure and a percentage of GDP globally, for each </a:t>
            </a:r>
            <a:r>
              <a:rPr lang="en-US" sz="1500" b="0" dirty="0" err="1"/>
              <a:t>cou</a:t>
            </a:r>
            <a:r>
              <a:rPr lang="hu-HU" sz="1500" b="0" dirty="0" err="1"/>
              <a:t>ntry</a:t>
            </a:r>
            <a:r>
              <a:rPr lang="hu-HU" sz="1500" b="0" dirty="0"/>
              <a:t>,</a:t>
            </a:r>
            <a:r>
              <a:rPr lang="en-US" sz="1500" b="0" dirty="0"/>
              <a:t> per year</a:t>
            </a:r>
          </a:p>
        </p:txBody>
      </p:sp>
    </p:spTree>
    <p:extLst>
      <p:ext uri="{BB962C8B-B14F-4D97-AF65-F5344CB8AC3E}">
        <p14:creationId xmlns:p14="http://schemas.microsoft.com/office/powerpoint/2010/main" val="2723089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3551114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1"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Creating the datawarehouse</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err="1"/>
              <a:t>To</a:t>
            </a:r>
            <a:r>
              <a:rPr lang="hu-HU" dirty="0"/>
              <a:t> </a:t>
            </a:r>
            <a:r>
              <a:rPr lang="hu-HU" dirty="0" err="1"/>
              <a:t>create</a:t>
            </a:r>
            <a:r>
              <a:rPr lang="hu-HU" dirty="0"/>
              <a:t> </a:t>
            </a:r>
            <a:r>
              <a:rPr lang="hu-HU" dirty="0" err="1"/>
              <a:t>the</a:t>
            </a:r>
            <a:r>
              <a:rPr lang="hu-HU" dirty="0"/>
              <a:t> datawarehouse, w</a:t>
            </a:r>
            <a:r>
              <a:rPr lang="en-US" dirty="0"/>
              <a:t>e joined the initial two tables on education in MySQL, and used </a:t>
            </a:r>
            <a:r>
              <a:rPr lang="en-US" dirty="0" err="1"/>
              <a:t>Knime</a:t>
            </a:r>
            <a:r>
              <a:rPr lang="en-US" dirty="0"/>
              <a:t> to enrich it with API data</a:t>
            </a:r>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309706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Overview of </a:t>
            </a: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4101123"/>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e </a:t>
            </a:r>
            <a:r>
              <a:rPr lang="en-US" sz="1500" b="0" dirty="0" err="1">
                <a:latin typeface="+mj-lt"/>
                <a:sym typeface="+mn-lt"/>
              </a:rPr>
              <a:t>EER</a:t>
            </a:r>
            <a:r>
              <a:rPr lang="en-US" sz="1500" b="0" dirty="0">
                <a:latin typeface="+mj-lt"/>
                <a:sym typeface="+mn-lt"/>
              </a:rPr>
              <a:t> diagram summarizes the overall relationship between the tables used in the project.</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We used MySQL Workbench to load the Times Data and Education Expenditure data into two separate SQL tables</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We joined these two tables to create the </a:t>
            </a:r>
            <a:r>
              <a:rPr lang="en-US" sz="1500" b="0" dirty="0" err="1">
                <a:latin typeface="+mj-lt"/>
                <a:sym typeface="+mn-lt"/>
              </a:rPr>
              <a:t>Educ_DW</a:t>
            </a:r>
            <a:r>
              <a:rPr lang="en-US" sz="1500" b="0" dirty="0">
                <a:latin typeface="+mj-lt"/>
                <a:sym typeface="+mn-lt"/>
              </a:rPr>
              <a:t> data warehouse that is linked to </a:t>
            </a:r>
            <a:r>
              <a:rPr lang="en-US" sz="1500" b="0" dirty="0" err="1">
                <a:latin typeface="+mj-lt"/>
                <a:sym typeface="+mn-lt"/>
              </a:rPr>
              <a:t>Knime</a:t>
            </a:r>
            <a:r>
              <a:rPr lang="en-US" sz="1500" b="0" dirty="0">
                <a:latin typeface="+mj-lt"/>
                <a:sym typeface="+mn-lt"/>
              </a:rPr>
              <a:t> for further analysis</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e datawarehouse is supplemented by two more tables, World Bank API on R&amp;D spending, and Country Codes to link the API data to our datawarehouse</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grpSp>
        <p:nvGrpSpPr>
          <p:cNvPr id="25" name="Group 24">
            <a:extLst>
              <a:ext uri="{FF2B5EF4-FFF2-40B4-BE49-F238E27FC236}">
                <a16:creationId xmlns:a16="http://schemas.microsoft.com/office/drawing/2014/main" id="{73BABEF8-07EC-4041-BBB2-D8DCFDF7A8F1}"/>
              </a:ext>
            </a:extLst>
          </p:cNvPr>
          <p:cNvGrpSpPr/>
          <p:nvPr/>
        </p:nvGrpSpPr>
        <p:grpSpPr>
          <a:xfrm>
            <a:off x="733594" y="2184033"/>
            <a:ext cx="4648030" cy="650248"/>
            <a:chOff x="733594" y="2212608"/>
            <a:chExt cx="4648030" cy="650248"/>
          </a:xfrm>
        </p:grpSpPr>
        <p:sp>
          <p:nvSpPr>
            <p:cNvPr id="2" name="RbLeanShape Right U-Shape 2">
              <a:extLst>
                <a:ext uri="{FF2B5EF4-FFF2-40B4-BE49-F238E27FC236}">
                  <a16:creationId xmlns:a16="http://schemas.microsoft.com/office/drawing/2014/main" id="{6D5F52FA-E2C0-4480-A20C-8B77872E7BA2}"/>
                </a:ext>
              </a:extLst>
            </p:cNvPr>
            <p:cNvSpPr/>
            <p:nvPr/>
          </p:nvSpPr>
          <p:spPr>
            <a:xfrm rot="5400000">
              <a:off x="3064815" y="135265"/>
              <a:ext cx="125753" cy="4507865"/>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p>
          </p:txBody>
        </p:sp>
        <p:sp>
          <p:nvSpPr>
            <p:cNvPr id="15" name="RBContent11">
              <a:extLst>
                <a:ext uri="{FF2B5EF4-FFF2-40B4-BE49-F238E27FC236}">
                  <a16:creationId xmlns:a16="http://schemas.microsoft.com/office/drawing/2014/main" id="{0DF730DC-244F-4A55-A74C-B10E7B02D682}"/>
                </a:ext>
              </a:extLst>
            </p:cNvPr>
            <p:cNvSpPr txBox="1">
              <a:spLocks/>
            </p:cNvSpPr>
            <p:nvPr/>
          </p:nvSpPr>
          <p:spPr>
            <a:xfrm>
              <a:off x="2527323" y="2212608"/>
              <a:ext cx="1200736" cy="207749"/>
            </a:xfrm>
            <a:prstGeom prst="rect">
              <a:avLst/>
            </a:prstGeom>
            <a:solidFill>
              <a:schemeClr val="bg1"/>
            </a:solidFill>
            <a:ln w="9525">
              <a:noFill/>
            </a:ln>
          </p:spPr>
          <p:txBody>
            <a:bodyPr vert="horz" wrap="square" lIns="144000" tIns="0" rIns="0" bIns="0" rtlCol="0">
              <a:spAutoFit/>
            </a:bodyPr>
            <a:lstStyle/>
            <a:p>
              <a:pPr marL="0" lvl="1" algn="ctr">
                <a:lnSpc>
                  <a:spcPct val="90000"/>
                </a:lnSpc>
                <a:spcBef>
                  <a:spcPts val="400"/>
                </a:spcBef>
                <a:buSzPct val="100000"/>
              </a:pPr>
              <a:r>
                <a:rPr lang="en-US" sz="1500" dirty="0">
                  <a:solidFill>
                    <a:schemeClr val="accent6"/>
                  </a:solidFill>
                  <a:latin typeface="+mj-lt"/>
                  <a:sym typeface="+mn-lt"/>
                </a:rPr>
                <a:t>Using MySQL</a:t>
              </a:r>
            </a:p>
          </p:txBody>
        </p:sp>
        <p:sp>
          <p:nvSpPr>
            <p:cNvPr id="22" name="RBContent11">
              <a:extLst>
                <a:ext uri="{FF2B5EF4-FFF2-40B4-BE49-F238E27FC236}">
                  <a16:creationId xmlns:a16="http://schemas.microsoft.com/office/drawing/2014/main" id="{44BFE9C9-A01C-4AFA-B731-5EBDA6AF6A7F}"/>
                </a:ext>
              </a:extLst>
            </p:cNvPr>
            <p:cNvSpPr txBox="1">
              <a:spLocks/>
            </p:cNvSpPr>
            <p:nvPr/>
          </p:nvSpPr>
          <p:spPr>
            <a:xfrm>
              <a:off x="733594" y="2502757"/>
              <a:ext cx="2824283" cy="360099"/>
            </a:xfrm>
            <a:prstGeom prst="rect">
              <a:avLst/>
            </a:prstGeom>
            <a:noFill/>
            <a:ln w="9525">
              <a:noFill/>
            </a:ln>
          </p:spPr>
          <p:txBody>
            <a:bodyPr vert="horz" wrap="square" lIns="144000" tIns="0" rIns="0" bIns="0" rtlCol="0">
              <a:spAutoFit/>
            </a:bodyPr>
            <a:lstStyle/>
            <a:p>
              <a:pPr marL="142628" lvl="1" indent="-142628" algn="ctr">
                <a:lnSpc>
                  <a:spcPct val="90000"/>
                </a:lnSpc>
                <a:spcBef>
                  <a:spcPts val="400"/>
                </a:spcBef>
                <a:buSzPct val="100000"/>
                <a:buFont typeface="Arial Narrow" panose="020B0606020202030204" pitchFamily="34" charset="0"/>
                <a:buChar char="&gt;"/>
              </a:pPr>
              <a:r>
                <a:rPr lang="en-US" b="0" dirty="0">
                  <a:solidFill>
                    <a:schemeClr val="accent6"/>
                  </a:solidFill>
                  <a:latin typeface="+mj-lt"/>
                  <a:sym typeface="+mn-lt"/>
                </a:rPr>
                <a:t>Joining Times University Ranking with Educational Expenditure table </a:t>
              </a:r>
            </a:p>
          </p:txBody>
        </p:sp>
      </p:grpSp>
      <p:grpSp>
        <p:nvGrpSpPr>
          <p:cNvPr id="14" name="Group 13">
            <a:extLst>
              <a:ext uri="{FF2B5EF4-FFF2-40B4-BE49-F238E27FC236}">
                <a16:creationId xmlns:a16="http://schemas.microsoft.com/office/drawing/2014/main" id="{81D1D6A4-6CFF-4389-B2BE-E954A146A07D}"/>
              </a:ext>
            </a:extLst>
          </p:cNvPr>
          <p:cNvGrpSpPr/>
          <p:nvPr/>
        </p:nvGrpSpPr>
        <p:grpSpPr>
          <a:xfrm>
            <a:off x="873759" y="3272911"/>
            <a:ext cx="5879461" cy="3179073"/>
            <a:chOff x="873760" y="3376947"/>
            <a:chExt cx="5765166" cy="3117273"/>
          </a:xfrm>
        </p:grpSpPr>
        <p:pic>
          <p:nvPicPr>
            <p:cNvPr id="91138" name="Picture 2">
              <a:extLst>
                <a:ext uri="{FF2B5EF4-FFF2-40B4-BE49-F238E27FC236}">
                  <a16:creationId xmlns:a16="http://schemas.microsoft.com/office/drawing/2014/main" id="{78269F8A-2243-4D51-A4B4-924D5B04E40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7431" r="58586" b="14389"/>
            <a:stretch/>
          </p:blipFill>
          <p:spPr bwMode="auto">
            <a:xfrm>
              <a:off x="873760" y="3536836"/>
              <a:ext cx="2716072" cy="27974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106A1BB2-22CE-495D-97DF-0F4B7B71BC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7979" t="19485" r="-407" b="2070"/>
            <a:stretch/>
          </p:blipFill>
          <p:spPr bwMode="auto">
            <a:xfrm>
              <a:off x="3797297" y="3376947"/>
              <a:ext cx="2841629" cy="3117273"/>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a:extLst>
                <a:ext uri="{FF2B5EF4-FFF2-40B4-BE49-F238E27FC236}">
                  <a16:creationId xmlns:a16="http://schemas.microsoft.com/office/drawing/2014/main" id="{5DD98B84-56FA-403F-8887-5DD2DAD5BE5A}"/>
                </a:ext>
              </a:extLst>
            </p:cNvPr>
            <p:cNvSpPr/>
            <p:nvPr/>
          </p:nvSpPr>
          <p:spPr>
            <a:xfrm>
              <a:off x="3557877" y="4726033"/>
              <a:ext cx="302261" cy="419100"/>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grpSp>
        <p:nvGrpSpPr>
          <p:cNvPr id="26" name="Group 25">
            <a:extLst>
              <a:ext uri="{FF2B5EF4-FFF2-40B4-BE49-F238E27FC236}">
                <a16:creationId xmlns:a16="http://schemas.microsoft.com/office/drawing/2014/main" id="{85C86336-FB57-4202-B96B-5D3B7BBDB46B}"/>
              </a:ext>
            </a:extLst>
          </p:cNvPr>
          <p:cNvGrpSpPr/>
          <p:nvPr/>
        </p:nvGrpSpPr>
        <p:grpSpPr>
          <a:xfrm>
            <a:off x="3728058" y="2567711"/>
            <a:ext cx="2910867" cy="620829"/>
            <a:chOff x="3728058" y="2539136"/>
            <a:chExt cx="2910867" cy="620829"/>
          </a:xfrm>
        </p:grpSpPr>
        <p:sp>
          <p:nvSpPr>
            <p:cNvPr id="20" name="RbLeanShape Right U-Shape 2">
              <a:extLst>
                <a:ext uri="{FF2B5EF4-FFF2-40B4-BE49-F238E27FC236}">
                  <a16:creationId xmlns:a16="http://schemas.microsoft.com/office/drawing/2014/main" id="{DA7E3E3D-0D1A-476B-80A3-BA2227EE5B95}"/>
                </a:ext>
              </a:extLst>
            </p:cNvPr>
            <p:cNvSpPr/>
            <p:nvPr/>
          </p:nvSpPr>
          <p:spPr>
            <a:xfrm rot="5400000">
              <a:off x="5120615" y="1279341"/>
              <a:ext cx="125754" cy="2910867"/>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22225">
              <a:solidFill>
                <a:schemeClr val="bg2"/>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latin typeface="+mj-lt"/>
              </a:endParaRPr>
            </a:p>
          </p:txBody>
        </p:sp>
        <p:sp>
          <p:nvSpPr>
            <p:cNvPr id="21" name="RBContent11">
              <a:extLst>
                <a:ext uri="{FF2B5EF4-FFF2-40B4-BE49-F238E27FC236}">
                  <a16:creationId xmlns:a16="http://schemas.microsoft.com/office/drawing/2014/main" id="{C7E6ACD4-7F52-4485-B8A5-F21EF2F6C9E8}"/>
                </a:ext>
              </a:extLst>
            </p:cNvPr>
            <p:cNvSpPr txBox="1">
              <a:spLocks/>
            </p:cNvSpPr>
            <p:nvPr/>
          </p:nvSpPr>
          <p:spPr>
            <a:xfrm>
              <a:off x="4583124" y="2539136"/>
              <a:ext cx="1200736" cy="207749"/>
            </a:xfrm>
            <a:prstGeom prst="rect">
              <a:avLst/>
            </a:prstGeom>
            <a:solidFill>
              <a:schemeClr val="bg1"/>
            </a:solidFill>
            <a:ln w="9525">
              <a:noFill/>
            </a:ln>
          </p:spPr>
          <p:txBody>
            <a:bodyPr vert="horz" wrap="square" lIns="144000" tIns="0" rIns="0" bIns="0" rtlCol="0">
              <a:spAutoFit/>
            </a:bodyPr>
            <a:lstStyle/>
            <a:p>
              <a:pPr marL="0" lvl="1" algn="ctr">
                <a:lnSpc>
                  <a:spcPct val="90000"/>
                </a:lnSpc>
                <a:spcBef>
                  <a:spcPts val="400"/>
                </a:spcBef>
                <a:buSzPct val="100000"/>
              </a:pPr>
              <a:r>
                <a:rPr lang="en-US" sz="1500" dirty="0">
                  <a:solidFill>
                    <a:schemeClr val="bg2"/>
                  </a:solidFill>
                  <a:latin typeface="+mj-lt"/>
                  <a:sym typeface="+mn-lt"/>
                </a:rPr>
                <a:t>Using </a:t>
              </a:r>
              <a:r>
                <a:rPr lang="en-US" sz="1500" dirty="0" err="1">
                  <a:solidFill>
                    <a:schemeClr val="bg2"/>
                  </a:solidFill>
                  <a:latin typeface="+mj-lt"/>
                  <a:sym typeface="+mn-lt"/>
                </a:rPr>
                <a:t>Knime</a:t>
              </a:r>
              <a:endParaRPr lang="en-US" sz="1500" dirty="0">
                <a:solidFill>
                  <a:schemeClr val="bg2"/>
                </a:solidFill>
                <a:latin typeface="+mj-lt"/>
                <a:sym typeface="+mn-lt"/>
              </a:endParaRPr>
            </a:p>
          </p:txBody>
        </p:sp>
        <p:sp>
          <p:nvSpPr>
            <p:cNvPr id="24" name="RBContent11">
              <a:extLst>
                <a:ext uri="{FF2B5EF4-FFF2-40B4-BE49-F238E27FC236}">
                  <a16:creationId xmlns:a16="http://schemas.microsoft.com/office/drawing/2014/main" id="{E24183B4-8DDD-4091-8171-E9AFF596268A}"/>
                </a:ext>
              </a:extLst>
            </p:cNvPr>
            <p:cNvSpPr txBox="1">
              <a:spLocks/>
            </p:cNvSpPr>
            <p:nvPr/>
          </p:nvSpPr>
          <p:spPr>
            <a:xfrm>
              <a:off x="3832087" y="2799866"/>
              <a:ext cx="2702811" cy="360099"/>
            </a:xfrm>
            <a:prstGeom prst="rect">
              <a:avLst/>
            </a:prstGeom>
            <a:noFill/>
            <a:ln w="9525">
              <a:noFill/>
            </a:ln>
          </p:spPr>
          <p:txBody>
            <a:bodyPr vert="horz" wrap="square" lIns="144000" tIns="0" rIns="0" bIns="0" rtlCol="0">
              <a:spAutoFit/>
            </a:bodyPr>
            <a:lstStyle/>
            <a:p>
              <a:pPr marL="142628" lvl="1" indent="-142628" algn="ctr">
                <a:lnSpc>
                  <a:spcPct val="90000"/>
                </a:lnSpc>
                <a:spcBef>
                  <a:spcPts val="400"/>
                </a:spcBef>
                <a:buSzPct val="100000"/>
                <a:buFont typeface="Arial Narrow" panose="020B0606020202030204" pitchFamily="34" charset="0"/>
                <a:buChar char="&gt;"/>
              </a:pPr>
              <a:r>
                <a:rPr lang="en-US" b="0" dirty="0">
                  <a:solidFill>
                    <a:schemeClr val="bg2"/>
                  </a:solidFill>
                  <a:latin typeface="+mj-lt"/>
                  <a:sym typeface="+mn-lt"/>
                </a:rPr>
                <a:t>Joining Country Codes and importing data from WB API</a:t>
              </a:r>
            </a:p>
          </p:txBody>
        </p:sp>
      </p:grpSp>
    </p:spTree>
    <p:extLst>
      <p:ext uri="{BB962C8B-B14F-4D97-AF65-F5344CB8AC3E}">
        <p14:creationId xmlns:p14="http://schemas.microsoft.com/office/powerpoint/2010/main" val="903928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88576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3"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a:t>
            </a:r>
            <a:r>
              <a:rPr lang="hu-HU" dirty="0"/>
              <a:t>November</a:t>
            </a:r>
            <a:endParaRPr lang="en-US" dirty="0"/>
          </a:p>
        </p:txBody>
      </p:sp>
      <p:sp>
        <p:nvSpPr>
          <p:cNvPr id="2" name="Title 1"/>
          <p:cNvSpPr>
            <a:spLocks noGrp="1"/>
          </p:cNvSpPr>
          <p:nvPr>
            <p:ph type="title"/>
          </p:nvPr>
        </p:nvSpPr>
        <p:spPr>
          <a:xfrm>
            <a:off x="0" y="2720069"/>
            <a:ext cx="3611301" cy="1661993"/>
          </a:xfrm>
        </p:spPr>
        <p:txBody>
          <a:bodyPr vert="horz"/>
          <a:lstStyle/>
          <a:p>
            <a:r>
              <a:rPr lang="hu-HU" dirty="0"/>
              <a:t>2. </a:t>
            </a:r>
            <a:r>
              <a:rPr lang="en-US" altLang="zh-HK" sz="4000" dirty="0" err="1">
                <a:cs typeface="Arial Narrow" pitchFamily="34" charset="0"/>
              </a:rPr>
              <a:t>ETL</a:t>
            </a:r>
            <a:r>
              <a:rPr lang="en-US" altLang="zh-HK" sz="4000" dirty="0">
                <a:cs typeface="Arial Narrow" pitchFamily="34" charset="0"/>
              </a:rPr>
              <a:t> workflow in MySQL and </a:t>
            </a:r>
            <a:r>
              <a:rPr lang="en-US" altLang="zh-HK" sz="4000" dirty="0" err="1">
                <a:cs typeface="Arial Narrow" pitchFamily="34" charset="0"/>
              </a:rPr>
              <a:t>Knime</a:t>
            </a:r>
            <a:endParaRPr lang="en-US" dirty="0"/>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252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64034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7"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err="1">
                <a:solidFill>
                  <a:schemeClr val="tx2"/>
                </a:solidFill>
                <a:latin typeface="+mn-lt"/>
                <a:cs typeface="+mn-cs"/>
                <a:sym typeface="+mn-lt"/>
              </a:rPr>
              <a:t>Knime</a:t>
            </a:r>
            <a:r>
              <a:rPr lang="en-US" sz="2100" b="0" dirty="0">
                <a:solidFill>
                  <a:schemeClr val="tx2"/>
                </a:solidFill>
                <a:latin typeface="+mn-lt"/>
                <a:cs typeface="+mn-cs"/>
                <a:sym typeface="+mn-lt"/>
              </a:rPr>
              <a:t> workflow overview and key tasks</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We read the data from MySQL into </a:t>
            </a:r>
            <a:r>
              <a:rPr lang="en-US" dirty="0" err="1"/>
              <a:t>Knime</a:t>
            </a:r>
            <a:r>
              <a:rPr lang="en-US" dirty="0"/>
              <a:t>, cleaned it, included the country codes, sourced R&amp;D data from APIs, and did visualizations</a:t>
            </a:r>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sp>
        <p:nvSpPr>
          <p:cNvPr id="2" name="Rectangle 1">
            <a:extLst>
              <a:ext uri="{FF2B5EF4-FFF2-40B4-BE49-F238E27FC236}">
                <a16:creationId xmlns:a16="http://schemas.microsoft.com/office/drawing/2014/main" id="{27337EFE-2968-4763-A716-2B5AA4EF3828}"/>
              </a:ext>
            </a:extLst>
          </p:cNvPr>
          <p:cNvSpPr>
            <a:spLocks/>
          </p:cNvSpPr>
          <p:nvPr/>
        </p:nvSpPr>
        <p:spPr>
          <a:xfrm>
            <a:off x="780297" y="2182029"/>
            <a:ext cx="2029498" cy="2516720"/>
          </a:xfrm>
          <a:prstGeom prst="rect">
            <a:avLst/>
          </a:prstGeom>
          <a:solidFill>
            <a:schemeClr val="bg1">
              <a:lumMod val="9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Reading from MySQL</a:t>
            </a:r>
          </a:p>
        </p:txBody>
      </p:sp>
      <p:sp>
        <p:nvSpPr>
          <p:cNvPr id="12" name="Rectangle 11">
            <a:extLst>
              <a:ext uri="{FF2B5EF4-FFF2-40B4-BE49-F238E27FC236}">
                <a16:creationId xmlns:a16="http://schemas.microsoft.com/office/drawing/2014/main" id="{4BD06464-8A9D-4A88-8CC6-78DD89DA9D14}"/>
              </a:ext>
            </a:extLst>
          </p:cNvPr>
          <p:cNvSpPr/>
          <p:nvPr/>
        </p:nvSpPr>
        <p:spPr>
          <a:xfrm>
            <a:off x="780296" y="5144388"/>
            <a:ext cx="2029498" cy="1246971"/>
          </a:xfrm>
          <a:prstGeom prst="rect">
            <a:avLst/>
          </a:prstGeom>
          <a:solidFill>
            <a:schemeClr val="bg1">
              <a:lumMod val="9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Reading country codes</a:t>
            </a:r>
          </a:p>
        </p:txBody>
      </p:sp>
      <p:sp>
        <p:nvSpPr>
          <p:cNvPr id="13" name="Rectangle 12">
            <a:extLst>
              <a:ext uri="{FF2B5EF4-FFF2-40B4-BE49-F238E27FC236}">
                <a16:creationId xmlns:a16="http://schemas.microsoft.com/office/drawing/2014/main" id="{0777DEED-10E2-4041-9572-D5AEDD00CDF1}"/>
              </a:ext>
            </a:extLst>
          </p:cNvPr>
          <p:cNvSpPr>
            <a:spLocks/>
          </p:cNvSpPr>
          <p:nvPr/>
        </p:nvSpPr>
        <p:spPr>
          <a:xfrm>
            <a:off x="2935028" y="2182029"/>
            <a:ext cx="2029498" cy="2516720"/>
          </a:xfrm>
          <a:prstGeom prst="rect">
            <a:avLst/>
          </a:prstGeom>
          <a:solidFill>
            <a:schemeClr val="accent6">
              <a:lumMod val="20000"/>
              <a:lumOff val="8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Data cleaning</a:t>
            </a:r>
          </a:p>
        </p:txBody>
      </p:sp>
      <p:sp>
        <p:nvSpPr>
          <p:cNvPr id="14" name="Rectangle 13">
            <a:extLst>
              <a:ext uri="{FF2B5EF4-FFF2-40B4-BE49-F238E27FC236}">
                <a16:creationId xmlns:a16="http://schemas.microsoft.com/office/drawing/2014/main" id="{B8EC0DAA-A7DA-4BDF-B826-0831D951325E}"/>
              </a:ext>
            </a:extLst>
          </p:cNvPr>
          <p:cNvSpPr>
            <a:spLocks/>
          </p:cNvSpPr>
          <p:nvPr/>
        </p:nvSpPr>
        <p:spPr>
          <a:xfrm>
            <a:off x="5089759" y="2182029"/>
            <a:ext cx="2029498" cy="4209330"/>
          </a:xfrm>
          <a:prstGeom prst="rect">
            <a:avLst/>
          </a:prstGeom>
          <a:solidFill>
            <a:schemeClr val="accent6">
              <a:lumMod val="20000"/>
              <a:lumOff val="8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Sourcing from API</a:t>
            </a:r>
          </a:p>
        </p:txBody>
      </p:sp>
      <p:sp>
        <p:nvSpPr>
          <p:cNvPr id="15" name="Rectangle 14">
            <a:extLst>
              <a:ext uri="{FF2B5EF4-FFF2-40B4-BE49-F238E27FC236}">
                <a16:creationId xmlns:a16="http://schemas.microsoft.com/office/drawing/2014/main" id="{BEFC5123-4F2A-4DD0-B817-0CD2DAB75E7C}"/>
              </a:ext>
            </a:extLst>
          </p:cNvPr>
          <p:cNvSpPr>
            <a:spLocks/>
          </p:cNvSpPr>
          <p:nvPr/>
        </p:nvSpPr>
        <p:spPr>
          <a:xfrm>
            <a:off x="7244490" y="2182029"/>
            <a:ext cx="2029498" cy="4209330"/>
          </a:xfrm>
          <a:prstGeom prst="rect">
            <a:avLst/>
          </a:prstGeom>
          <a:solidFill>
            <a:schemeClr val="accent5"/>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buSzPct val="100000"/>
            </a:pPr>
            <a:r>
              <a:rPr lang="en-US" sz="1500" dirty="0"/>
              <a:t>Data visualization</a:t>
            </a:r>
          </a:p>
          <a:p>
            <a:pPr>
              <a:lnSpc>
                <a:spcPct val="90000"/>
              </a:lnSpc>
              <a:spcBef>
                <a:spcPts val="400"/>
              </a:spcBef>
              <a:buSzPct val="100000"/>
            </a:pPr>
            <a:endParaRPr lang="en-US" sz="1500" dirty="0"/>
          </a:p>
        </p:txBody>
      </p:sp>
      <p:sp>
        <p:nvSpPr>
          <p:cNvPr id="19" name="Arrow: Right 18">
            <a:extLst>
              <a:ext uri="{FF2B5EF4-FFF2-40B4-BE49-F238E27FC236}">
                <a16:creationId xmlns:a16="http://schemas.microsoft.com/office/drawing/2014/main" id="{31DC2C66-4EFA-4632-80E8-F20E0D2B4C04}"/>
              </a:ext>
            </a:extLst>
          </p:cNvPr>
          <p:cNvSpPr/>
          <p:nvPr/>
        </p:nvSpPr>
        <p:spPr>
          <a:xfrm>
            <a:off x="2690414" y="3440389"/>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 name="Arrow: Right 19">
            <a:extLst>
              <a:ext uri="{FF2B5EF4-FFF2-40B4-BE49-F238E27FC236}">
                <a16:creationId xmlns:a16="http://schemas.microsoft.com/office/drawing/2014/main" id="{EBAC4723-C3D7-47FC-A680-2B91FFD0D027}"/>
              </a:ext>
            </a:extLst>
          </p:cNvPr>
          <p:cNvSpPr/>
          <p:nvPr/>
        </p:nvSpPr>
        <p:spPr>
          <a:xfrm>
            <a:off x="4845145" y="3440389"/>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1" name="Arrow: Right 20">
            <a:extLst>
              <a:ext uri="{FF2B5EF4-FFF2-40B4-BE49-F238E27FC236}">
                <a16:creationId xmlns:a16="http://schemas.microsoft.com/office/drawing/2014/main" id="{B8101276-5DBF-4482-962A-85B0C5B45989}"/>
              </a:ext>
            </a:extLst>
          </p:cNvPr>
          <p:cNvSpPr/>
          <p:nvPr/>
        </p:nvSpPr>
        <p:spPr>
          <a:xfrm>
            <a:off x="7038662" y="4502151"/>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 name="Arrow: Right 21">
            <a:extLst>
              <a:ext uri="{FF2B5EF4-FFF2-40B4-BE49-F238E27FC236}">
                <a16:creationId xmlns:a16="http://schemas.microsoft.com/office/drawing/2014/main" id="{E075C738-9F02-448E-94CF-1CBA228143B2}"/>
              </a:ext>
            </a:extLst>
          </p:cNvPr>
          <p:cNvSpPr/>
          <p:nvPr/>
        </p:nvSpPr>
        <p:spPr>
          <a:xfrm>
            <a:off x="2690414" y="5687022"/>
            <a:ext cx="2536285"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 name="RBContent23">
            <a:extLst>
              <a:ext uri="{FF2B5EF4-FFF2-40B4-BE49-F238E27FC236}">
                <a16:creationId xmlns:a16="http://schemas.microsoft.com/office/drawing/2014/main" id="{045805C2-CA1D-4398-BDAB-C5F59B7C9010}"/>
              </a:ext>
            </a:extLst>
          </p:cNvPr>
          <p:cNvSpPr txBox="1">
            <a:spLocks/>
          </p:cNvSpPr>
          <p:nvPr/>
        </p:nvSpPr>
        <p:spPr>
          <a:xfrm>
            <a:off x="7420216" y="2721185"/>
            <a:ext cx="1761521" cy="2494529"/>
          </a:xfrm>
          <a:prstGeom prst="rect">
            <a:avLst/>
          </a:prstGeom>
          <a:noFill/>
          <a:ln w="9525">
            <a:noFill/>
          </a:ln>
        </p:spPr>
        <p:txBody>
          <a:bodyPr vert="horz" wrap="square" lIns="0" tIns="0" rIns="0" bIns="0" rtlCol="0">
            <a:spAutoFit/>
          </a:bodyPr>
          <a:lstStyle/>
          <a:p>
            <a:pPr marL="153600" lvl="1" indent="-153600">
              <a:lnSpc>
                <a:spcPct val="90000"/>
              </a:lnSpc>
              <a:spcBef>
                <a:spcPts val="400"/>
              </a:spcBef>
              <a:buSzPct val="100000"/>
              <a:buFont typeface="Arial Narrow" panose="020B0606020202030204" pitchFamily="34" charset="0"/>
              <a:buChar char="&gt;"/>
            </a:pPr>
            <a:r>
              <a:rPr lang="en-US" b="0" dirty="0">
                <a:sym typeface="+mn-lt"/>
              </a:rPr>
              <a:t>Educational expenditure per country, 2011</a:t>
            </a:r>
            <a:br>
              <a:rPr lang="en-US" b="0" dirty="0">
                <a:sym typeface="+mn-lt"/>
              </a:rPr>
            </a:br>
            <a:r>
              <a:rPr lang="en-US" b="0" dirty="0">
                <a:sym typeface="+mn-lt"/>
              </a:rPr>
              <a:t>[% of GDP]</a:t>
            </a:r>
            <a:endParaRPr lang="en-US" b="0" dirty="0">
              <a:latin typeface="+mn-lt"/>
              <a:sym typeface="+mn-lt"/>
            </a:endParaRPr>
          </a:p>
          <a:p>
            <a:pPr marL="153600" lvl="1" indent="-153600">
              <a:lnSpc>
                <a:spcPct val="90000"/>
              </a:lnSpc>
              <a:spcBef>
                <a:spcPts val="400"/>
              </a:spcBef>
              <a:buSzPct val="100000"/>
              <a:buFont typeface="Arial Narrow" panose="020B0606020202030204" pitchFamily="34" charset="0"/>
              <a:buChar char="&gt;"/>
            </a:pPr>
            <a:r>
              <a:rPr lang="en-US" b="0" dirty="0">
                <a:sym typeface="+mn-lt"/>
              </a:rPr>
              <a:t>World ranking of universities by % of international students and % of female students</a:t>
            </a:r>
          </a:p>
          <a:p>
            <a:pPr marL="153600" lvl="1" indent="-153600">
              <a:lnSpc>
                <a:spcPct val="90000"/>
              </a:lnSpc>
              <a:spcBef>
                <a:spcPts val="400"/>
              </a:spcBef>
              <a:buSzPct val="100000"/>
              <a:buFont typeface="Arial Narrow" panose="020B0606020202030204" pitchFamily="34" charset="0"/>
              <a:buChar char="&gt;"/>
            </a:pPr>
            <a:r>
              <a:rPr lang="en-US" b="0" dirty="0">
                <a:sym typeface="+mn-lt"/>
              </a:rPr>
              <a:t>Total score by R&amp;D expenditure per country (scatterplot)</a:t>
            </a:r>
          </a:p>
          <a:p>
            <a:pPr marL="153600" lvl="1" indent="-153600">
              <a:lnSpc>
                <a:spcPct val="90000"/>
              </a:lnSpc>
              <a:spcBef>
                <a:spcPts val="400"/>
              </a:spcBef>
              <a:buSzPct val="100000"/>
              <a:buFont typeface="Arial Narrow" panose="020B0606020202030204" pitchFamily="34" charset="0"/>
              <a:buChar char="&gt;"/>
            </a:pPr>
            <a:r>
              <a:rPr lang="en-US" b="0" dirty="0">
                <a:sym typeface="+mn-lt"/>
              </a:rPr>
              <a:t>Total score by R&amp;D expenditure per country (</a:t>
            </a:r>
            <a:r>
              <a:rPr lang="en-US" b="0" dirty="0" err="1">
                <a:sym typeface="+mn-lt"/>
              </a:rPr>
              <a:t>inear</a:t>
            </a:r>
            <a:r>
              <a:rPr lang="en-US" b="0" dirty="0">
                <a:sym typeface="+mn-lt"/>
              </a:rPr>
              <a:t> regression)</a:t>
            </a:r>
            <a:endParaRPr lang="en-US" b="0" dirty="0">
              <a:latin typeface="+mn-lt"/>
              <a:sym typeface="+mn-lt"/>
            </a:endParaRPr>
          </a:p>
        </p:txBody>
      </p:sp>
      <p:sp>
        <p:nvSpPr>
          <p:cNvPr id="24" name="RBContent24">
            <a:extLst>
              <a:ext uri="{FF2B5EF4-FFF2-40B4-BE49-F238E27FC236}">
                <a16:creationId xmlns:a16="http://schemas.microsoft.com/office/drawing/2014/main" id="{7BCF088C-6E6D-4D40-BB61-F5FCF7173A88}"/>
              </a:ext>
            </a:extLst>
          </p:cNvPr>
          <p:cNvSpPr txBox="1">
            <a:spLocks/>
          </p:cNvSpPr>
          <p:nvPr/>
        </p:nvSpPr>
        <p:spPr>
          <a:xfrm>
            <a:off x="5217646" y="2721185"/>
            <a:ext cx="1800308" cy="2185727"/>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Joining country codes with data table</a:t>
            </a:r>
          </a:p>
          <a:p>
            <a:pPr marL="142628" lvl="1" indent="-142628">
              <a:lnSpc>
                <a:spcPct val="90000"/>
              </a:lnSpc>
              <a:spcBef>
                <a:spcPts val="400"/>
              </a:spcBef>
              <a:buSzPct val="100000"/>
              <a:buFont typeface="Arial Narrow" panose="020B0606020202030204" pitchFamily="34" charset="0"/>
              <a:buChar char="&gt;"/>
            </a:pPr>
            <a:r>
              <a:rPr lang="en-US" b="0" dirty="0"/>
              <a:t>Grouping rows based on country codes and the URL. </a:t>
            </a:r>
          </a:p>
          <a:p>
            <a:pPr marL="142628" lvl="1" indent="-142628">
              <a:lnSpc>
                <a:spcPct val="90000"/>
              </a:lnSpc>
              <a:spcBef>
                <a:spcPts val="400"/>
              </a:spcBef>
              <a:buSzPct val="100000"/>
              <a:buFont typeface="Arial Narrow" panose="020B0606020202030204" pitchFamily="34" charset="0"/>
              <a:buChar char="&gt;"/>
            </a:pPr>
            <a:r>
              <a:rPr lang="en-US" b="0" dirty="0"/>
              <a:t>Dropping rows with missing values</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Loading the data from the API</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Filtering columns for analysis</a:t>
            </a:r>
          </a:p>
        </p:txBody>
      </p:sp>
      <p:sp>
        <p:nvSpPr>
          <p:cNvPr id="25" name="RBContent25">
            <a:extLst>
              <a:ext uri="{FF2B5EF4-FFF2-40B4-BE49-F238E27FC236}">
                <a16:creationId xmlns:a16="http://schemas.microsoft.com/office/drawing/2014/main" id="{F05968A8-7678-4A50-B419-9EF153335863}"/>
              </a:ext>
            </a:extLst>
          </p:cNvPr>
          <p:cNvSpPr txBox="1">
            <a:spLocks/>
          </p:cNvSpPr>
          <p:nvPr/>
        </p:nvSpPr>
        <p:spPr>
          <a:xfrm>
            <a:off x="3027278" y="2721185"/>
            <a:ext cx="1844998" cy="1723036"/>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Cleaning "female percentage" variable by splitting the integer and ratio variables and separately cleaning them</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Identifying hidden missing values</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Aligning data format</a:t>
            </a:r>
            <a:r>
              <a:rPr lang="hu-HU" b="0" dirty="0">
                <a:latin typeface="+mn-lt"/>
                <a:sym typeface="+mn-lt"/>
              </a:rPr>
              <a:t> (integer, </a:t>
            </a:r>
            <a:r>
              <a:rPr lang="hu-HU" b="0" dirty="0" err="1">
                <a:latin typeface="+mn-lt"/>
                <a:sym typeface="+mn-lt"/>
              </a:rPr>
              <a:t>string</a:t>
            </a:r>
            <a:r>
              <a:rPr lang="hu-HU" b="0" dirty="0">
                <a:latin typeface="+mn-lt"/>
                <a:sym typeface="+mn-lt"/>
              </a:rPr>
              <a:t>, </a:t>
            </a:r>
            <a:r>
              <a:rPr lang="hu-HU" b="0" dirty="0" err="1">
                <a:latin typeface="+mn-lt"/>
                <a:sym typeface="+mn-lt"/>
              </a:rPr>
              <a:t>ect</a:t>
            </a:r>
            <a:r>
              <a:rPr lang="hu-HU" b="0" dirty="0">
                <a:latin typeface="+mn-lt"/>
                <a:sym typeface="+mn-lt"/>
              </a:rPr>
              <a:t>.)</a:t>
            </a:r>
            <a:endParaRPr lang="en-US" b="0" dirty="0">
              <a:latin typeface="+mn-lt"/>
              <a:sym typeface="+mn-lt"/>
            </a:endParaRPr>
          </a:p>
        </p:txBody>
      </p:sp>
      <p:sp>
        <p:nvSpPr>
          <p:cNvPr id="31" name="RBContent25">
            <a:extLst>
              <a:ext uri="{FF2B5EF4-FFF2-40B4-BE49-F238E27FC236}">
                <a16:creationId xmlns:a16="http://schemas.microsoft.com/office/drawing/2014/main" id="{453C160E-2F19-4D25-84FE-90DCFFDFDAAA}"/>
              </a:ext>
            </a:extLst>
          </p:cNvPr>
          <p:cNvSpPr txBox="1">
            <a:spLocks/>
          </p:cNvSpPr>
          <p:nvPr/>
        </p:nvSpPr>
        <p:spPr>
          <a:xfrm>
            <a:off x="872547" y="2721185"/>
            <a:ext cx="1844998" cy="360099"/>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Connecting to MySQL and reading the joined table</a:t>
            </a:r>
          </a:p>
        </p:txBody>
      </p:sp>
      <p:sp>
        <p:nvSpPr>
          <p:cNvPr id="32" name="RBContent25">
            <a:extLst>
              <a:ext uri="{FF2B5EF4-FFF2-40B4-BE49-F238E27FC236}">
                <a16:creationId xmlns:a16="http://schemas.microsoft.com/office/drawing/2014/main" id="{350294CA-A41C-4083-9558-421D68315019}"/>
              </a:ext>
            </a:extLst>
          </p:cNvPr>
          <p:cNvSpPr txBox="1">
            <a:spLocks/>
          </p:cNvSpPr>
          <p:nvPr/>
        </p:nvSpPr>
        <p:spPr>
          <a:xfrm>
            <a:off x="872547" y="5587823"/>
            <a:ext cx="1844998" cy="360099"/>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Reading the country codes table to be used as keys</a:t>
            </a:r>
          </a:p>
        </p:txBody>
      </p:sp>
    </p:spTree>
    <p:extLst>
      <p:ext uri="{BB962C8B-B14F-4D97-AF65-F5344CB8AC3E}">
        <p14:creationId xmlns:p14="http://schemas.microsoft.com/office/powerpoint/2010/main" val="3638086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15852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5"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err="1">
                <a:solidFill>
                  <a:schemeClr val="tx2"/>
                </a:solidFill>
                <a:latin typeface="+mn-lt"/>
                <a:cs typeface="+mn-cs"/>
                <a:sym typeface="+mn-lt"/>
              </a:rPr>
              <a:t>Knime</a:t>
            </a:r>
            <a:r>
              <a:rPr lang="en-US" sz="2100" b="0" dirty="0">
                <a:solidFill>
                  <a:schemeClr val="tx2"/>
                </a:solidFill>
                <a:latin typeface="+mn-lt"/>
                <a:cs typeface="+mn-cs"/>
                <a:sym typeface="+mn-lt"/>
              </a:rPr>
              <a:t> workflow – Data cleaning</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Biggest challenge in cleaning was that the "female ratio" variable was given in 2 different formats: ratio (</a:t>
            </a:r>
            <a:r>
              <a:rPr lang="en-US" dirty="0" err="1"/>
              <a:t>eg.</a:t>
            </a:r>
            <a:r>
              <a:rPr lang="en-US" dirty="0"/>
              <a:t> 30:70) and float (</a:t>
            </a:r>
            <a:r>
              <a:rPr lang="en-US" dirty="0" err="1"/>
              <a:t>eg.</a:t>
            </a:r>
            <a:r>
              <a:rPr lang="en-US" dirty="0"/>
              <a:t> 3.71)</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157741" y="2182029"/>
            <a:ext cx="3083098" cy="3685624"/>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Had to split the columns in two by the different formats. Key nodes used:</a:t>
            </a:r>
          </a:p>
          <a:p>
            <a:pPr marL="0" lvl="1">
              <a:lnSpc>
                <a:spcPct val="90000"/>
              </a:lnSpc>
              <a:spcBef>
                <a:spcPts val="400"/>
              </a:spcBef>
              <a:buSzPct val="100000"/>
            </a:pPr>
            <a:r>
              <a:rPr lang="en-US" sz="1500" b="0" dirty="0">
                <a:latin typeface="+mj-lt"/>
                <a:sym typeface="+mn-lt"/>
              </a:rPr>
              <a:t>Part 1:</a:t>
            </a:r>
          </a:p>
          <a:p>
            <a:pPr marL="164571" lvl="1" indent="-164571">
              <a:lnSpc>
                <a:spcPct val="90000"/>
              </a:lnSpc>
              <a:spcBef>
                <a:spcPts val="400"/>
              </a:spcBef>
              <a:buSzPct val="100000"/>
              <a:buFont typeface="Arial Narrow" panose="020B0606020202030204" pitchFamily="34" charset="0"/>
              <a:buChar char="&gt;"/>
            </a:pPr>
            <a:r>
              <a:rPr lang="en-US" sz="1500" dirty="0">
                <a:latin typeface="+mj-lt"/>
              </a:rPr>
              <a:t>String manipulation </a:t>
            </a:r>
            <a:r>
              <a:rPr lang="en-US" sz="1500" b="0" dirty="0">
                <a:latin typeface="+mj-lt"/>
              </a:rPr>
              <a:t>to drop the ":xx" part of the ratio, transforming "30:70" to "30"</a:t>
            </a:r>
          </a:p>
          <a:p>
            <a:pPr marL="164571" lvl="1" indent="-164571">
              <a:lnSpc>
                <a:spcPct val="90000"/>
              </a:lnSpc>
              <a:spcBef>
                <a:spcPts val="400"/>
              </a:spcBef>
              <a:buSzPct val="100000"/>
              <a:buFont typeface="Arial Narrow" panose="020B0606020202030204" pitchFamily="34" charset="0"/>
              <a:buChar char="&gt;"/>
            </a:pPr>
            <a:r>
              <a:rPr lang="en-US" sz="1500" dirty="0">
                <a:latin typeface="+mj-lt"/>
              </a:rPr>
              <a:t>String to number </a:t>
            </a:r>
            <a:r>
              <a:rPr lang="en-US" sz="1500" b="0" dirty="0">
                <a:latin typeface="+mj-lt"/>
              </a:rPr>
              <a:t>to convert to number</a:t>
            </a:r>
          </a:p>
          <a:p>
            <a:pPr>
              <a:spcBef>
                <a:spcPts val="0"/>
              </a:spcBef>
              <a:buSzPct val="100000"/>
            </a:pPr>
            <a:r>
              <a:rPr lang="en-US" sz="1500" b="0" dirty="0">
                <a:latin typeface="+mj-lt"/>
              </a:rPr>
              <a:t>Part 2</a:t>
            </a:r>
          </a:p>
          <a:p>
            <a:pPr marL="164571" lvl="1" indent="-164571">
              <a:spcBef>
                <a:spcPts val="0"/>
              </a:spcBef>
              <a:buSzPct val="100000"/>
              <a:buFont typeface="Arial Narrow" panose="020B0606020202030204" pitchFamily="34" charset="0"/>
              <a:buChar char="&gt;"/>
            </a:pPr>
            <a:r>
              <a:rPr lang="en-US" sz="1500" dirty="0">
                <a:latin typeface="+mj-lt"/>
              </a:rPr>
              <a:t>Rule-based row filter </a:t>
            </a:r>
            <a:r>
              <a:rPr lang="en-US" sz="1500" b="0" dirty="0">
                <a:latin typeface="+mj-lt"/>
              </a:rPr>
              <a:t>to split data table into 2 tables, by identifying ":" sign</a:t>
            </a:r>
          </a:p>
          <a:p>
            <a:pPr marL="164571" lvl="1" indent="-164571">
              <a:spcBef>
                <a:spcPts val="0"/>
              </a:spcBef>
              <a:buSzPct val="100000"/>
              <a:buFont typeface="Arial Narrow" panose="020B0606020202030204" pitchFamily="34" charset="0"/>
              <a:buChar char="&gt;"/>
            </a:pPr>
            <a:r>
              <a:rPr lang="en-US" sz="1500" dirty="0">
                <a:latin typeface="+mj-lt"/>
              </a:rPr>
              <a:t>String manipulation </a:t>
            </a:r>
            <a:r>
              <a:rPr lang="en-US" sz="1500" b="0" dirty="0">
                <a:latin typeface="+mj-lt"/>
              </a:rPr>
              <a:t>to remove "-", used as NA</a:t>
            </a:r>
          </a:p>
          <a:p>
            <a:pPr marL="164571" lvl="1" indent="-164571">
              <a:spcBef>
                <a:spcPts val="0"/>
              </a:spcBef>
              <a:buSzPct val="100000"/>
              <a:buFont typeface="Arial Narrow" panose="020B0606020202030204" pitchFamily="34" charset="0"/>
              <a:buChar char="&gt;"/>
            </a:pPr>
            <a:r>
              <a:rPr lang="en-US" sz="1500" dirty="0">
                <a:latin typeface="+mj-lt"/>
              </a:rPr>
              <a:t>String to number </a:t>
            </a:r>
            <a:r>
              <a:rPr lang="en-US" sz="1500" b="0" dirty="0">
                <a:latin typeface="+mj-lt"/>
              </a:rPr>
              <a:t>to convert to number</a:t>
            </a:r>
          </a:p>
          <a:p>
            <a:pPr marL="164571" lvl="1" indent="-164571">
              <a:spcBef>
                <a:spcPts val="0"/>
              </a:spcBef>
              <a:buSzPct val="100000"/>
              <a:buFont typeface="Arial Narrow" panose="020B0606020202030204" pitchFamily="34" charset="0"/>
              <a:buChar char="&gt;"/>
            </a:pPr>
            <a:r>
              <a:rPr lang="en-US" sz="1500" dirty="0">
                <a:latin typeface="+mj-lt"/>
              </a:rPr>
              <a:t>Column expression</a:t>
            </a:r>
            <a:r>
              <a:rPr lang="en-US" sz="1500" b="0" dirty="0">
                <a:latin typeface="+mj-lt"/>
              </a:rPr>
              <a:t>, to calculate integers into a percentage of females (from 2.71 to 73%)</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002164" y="2182029"/>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sp>
        <p:nvSpPr>
          <p:cNvPr id="23" name="RbNavigator">
            <a:extLst>
              <a:ext uri="{FF2B5EF4-FFF2-40B4-BE49-F238E27FC236}">
                <a16:creationId xmlns:a16="http://schemas.microsoft.com/office/drawing/2014/main" id="{0E41F529-CDC4-4B66-818F-4C27E74C9B5F}"/>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27" name="RbSticker">
            <a:extLst>
              <a:ext uri="{FF2B5EF4-FFF2-40B4-BE49-F238E27FC236}">
                <a16:creationId xmlns:a16="http://schemas.microsoft.com/office/drawing/2014/main" id="{564EEF13-9F95-4A20-A04C-B396C8E8A35E}"/>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94216" name="Picture 8">
            <a:extLst>
              <a:ext uri="{FF2B5EF4-FFF2-40B4-BE49-F238E27FC236}">
                <a16:creationId xmlns:a16="http://schemas.microsoft.com/office/drawing/2014/main" id="{113BC06B-091D-4E9C-B3E4-D5F2B91DC7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601" y="2252634"/>
            <a:ext cx="5225347" cy="271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35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4.48803100000000032566E+00&quot;&gt;&lt;m_msothmcolidx val=&quot;0&quot;/&gt;&lt;m_rgb r=&quot;C0&quot; g=&quot;00&quot; b=&quot;00&quot;/&gt;&lt;/elem&gt;&lt;elem m_fUsage=&quot;2.24110317167100081548E+00&quot;&gt;&lt;m_msothmcolidx val=&quot;0&quot;/&gt;&lt;m_rgb r=&quot;D1&quot; g=&quot;D4&quot; b=&quot;D6&quot;/&gt;&lt;/elem&gt;&lt;elem m_fUsage=&quot;7.29000000000000092371E-01&quot;&gt;&lt;m_msothmcolidx val=&quot;0&quot;/&gt;&lt;m_rgb r=&quot;FF&quot; g=&quot;DD&quot; b=&quot;2A&quot;/&gt;&lt;/elem&gt;&lt;elem m_fUsage=&quot;6.06260418714750004554E-01&quot;&gt;&lt;m_msothmcolidx val=&quot;0&quot;/&gt;&lt;m_rgb r=&quot;80&quot; g=&quot;0D&quot; b=&quot;10&quot;/&gt;&lt;/elem&gt;&lt;elem m_fUsage=&quot;4.23601978226149533668E-01&quot;&gt;&lt;m_msothmcolidx val=&quot;0&quot;/&gt;&lt;m_rgb r=&quot;FE&quot; g=&quot;27&quot; b=&quot;2D&quot;/&gt;&lt;/elem&gt;&lt;elem m_fUsage=&quot;2.64818498043769057215E-01&quot;&gt;&lt;m_msothmcolidx val=&quot;0&quot;/&gt;&lt;m_rgb r=&quot;A6&quot; g=&quot;A6&quot; b=&quot;A6&quot;/&gt;&lt;/elem&gt;&lt;elem m_fUsage=&quot;2.45569672073075451202E-01&quot;&gt;&lt;m_msothmcolidx val=&quot;0&quot;/&gt;&lt;m_rgb r=&quot;00&quot; g=&quot;7A&quot; b=&quot;20&quot;/&gt;&lt;/elem&gt;&lt;elem m_fUsage=&quot;2.05891132094649098594E-01&quot;&gt;&lt;m_msothmcolidx val=&quot;0&quot;/&gt;&lt;m_rgb r=&quot;E8&quot; g=&quot;E9&quot; b=&quot;EB&quot;/&gt;&lt;/elem&gt;&lt;elem m_fUsage=&quot;2.02617768139672083105E-01&quot;&gt;&lt;m_msothmcolidx val=&quot;0&quot;/&gt;&lt;m_rgb r=&quot;66&quot; g=&quot;AA&quot; b=&quot;DD&quot;/&gt;&lt;/elem&gt;&lt;elem m_fUsage=&quot;1.40868248493577402636E-01&quot;&gt;&lt;m_msothmcolidx val=&quot;0&quot;/&gt;&lt;m_rgb r=&quot;CA&quot; g=&quot;EB&quot; b=&quot;FF&quot;/&gt;&lt;/elem&gt;&lt;elem m_fUsage=&quot;1.21576654590569363523E-01&quot;&gt;&lt;m_msothmcolidx val=&quot;0&quot;/&gt;&lt;m_rgb r=&quot;00&quot; g=&quot;8F&quot; b=&quot;D5&quot;/&gt;&lt;/elem&gt;&lt;elem m_fUsage=&quot;8.86293811965250810658E-02&quot;&gt;&lt;m_msothmcolidx val=&quot;0&quot;/&gt;&lt;m_rgb r=&quot;43&quot; g=&quot;58&quot; b=&quot;C6&quot;/&gt;&lt;/elem&gt;&lt;elem m_fUsage=&quot;7.17897987691853145531E-02&quot;&gt;&lt;m_msothmcolidx val=&quot;0&quot;/&gt;&lt;m_rgb r=&quot;E7&quot; g=&quot;E8&quot; b=&quot;EA&quot;/&gt;&lt;/elem&gt;&lt;elem m_fUsage=&quot;6.46108188922667886489E-02&quot;&gt;&lt;m_msothmcolidx val=&quot;0&quot;/&gt;&lt;m_rgb r=&quot;E5&quot; g=&quot;E6&quot; b=&quot;E8&quot;/&gt;&lt;/elem&gt;&lt;elem m_fUsage=&quot;4.43959697237360020883E-02&quot;&gt;&lt;m_msothmcolidx val=&quot;0&quot;/&gt;&lt;m_rgb r=&quot;1D&quot; g=&quot;4D&quot; b=&quot;A5&quot;/&gt;&lt;/elem&gt;&lt;elem m_fUsage=&quot;9.69773729787524671475E-03&quot;&gt;&lt;m_msothmcolidx val=&quot;0&quot;/&gt;&lt;m_rgb r=&quot;74&quot; g=&quot;74&quot; b=&quot;7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595D4A3697C744B3D79E137345A564" ma:contentTypeVersion="11" ma:contentTypeDescription="Create a new document." ma:contentTypeScope="" ma:versionID="2cfca0f1d1f7f5423d313790b5dea565">
  <xsd:schema xmlns:xsd="http://www.w3.org/2001/XMLSchema" xmlns:xs="http://www.w3.org/2001/XMLSchema" xmlns:p="http://schemas.microsoft.com/office/2006/metadata/properties" xmlns:ns2="0be1f753-373c-4341-a161-7e6c393424f5" xmlns:ns3="bc45f339-c202-44a2-b018-b174430ea2bc" targetNamespace="http://schemas.microsoft.com/office/2006/metadata/properties" ma:root="true" ma:fieldsID="92345f59f37d12f12d32c69b16353632" ns2:_="" ns3:_="">
    <xsd:import namespace="0be1f753-373c-4341-a161-7e6c393424f5"/>
    <xsd:import namespace="bc45f339-c202-44a2-b018-b174430ea2b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e1f753-373c-4341-a161-7e6c39342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45f339-c202-44a2-b018-b174430ea2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A4FC8A-0F82-43D3-B04E-F063433636D1}">
  <ds:schemaRefs>
    <ds:schemaRef ds:uri="http://schemas.microsoft.com/sharepoint/v3/contenttype/forms"/>
  </ds:schemaRefs>
</ds:datastoreItem>
</file>

<file path=customXml/itemProps2.xml><?xml version="1.0" encoding="utf-8"?>
<ds:datastoreItem xmlns:ds="http://schemas.openxmlformats.org/officeDocument/2006/customXml" ds:itemID="{46EF1118-FF99-43B9-B779-5EE045767A1A}">
  <ds:schemaRefs>
    <ds:schemaRef ds:uri="0be1f753-373c-4341-a161-7e6c393424f5"/>
    <ds:schemaRef ds:uri="bc45f339-c202-44a2-b018-b174430ea2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DD97C88-06C7-46BE-9FE4-7FD857CEC09C}">
  <ds:schemaRefs>
    <ds:schemaRef ds:uri="0be1f753-373c-4341-a161-7e6c393424f5"/>
    <ds:schemaRef ds:uri="bc45f339-c202-44a2-b018-b174430ea2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5</TotalTime>
  <Words>1595</Words>
  <Application>Microsoft Office PowerPoint</Application>
  <PresentationFormat>A4 Paper (210x297 mm)</PresentationFormat>
  <Paragraphs>180</Paragraphs>
  <Slides>17</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Arial Narrow</vt:lpstr>
      <vt:lpstr>Calibri</vt:lpstr>
      <vt:lpstr>A4_RB_PPT</vt:lpstr>
      <vt:lpstr>think-cell Slide</vt:lpstr>
      <vt:lpstr>Preliminary analysis on higher education</vt:lpstr>
      <vt:lpstr>Our presentation will cover the goal of our research, the ETL pipeline we constructed, and the key results of our analysis</vt:lpstr>
      <vt:lpstr>1. Goals and data collected</vt:lpstr>
      <vt:lpstr>We collected data on higher education to do preliminary analysis on key attributes, e.g. ranking, R&amp;D spending and or ratio of females</vt:lpstr>
      <vt:lpstr>We used 2 tables from the World University ranking dataset, enriched it from World Bank API,  and connected by country codes</vt:lpstr>
      <vt:lpstr>To create the datawarehouse, we joined the initial two tables on education in MySQL, and used Knime to enrich it with API data</vt:lpstr>
      <vt:lpstr>2. ETL workflow in MySQL and Knime</vt:lpstr>
      <vt:lpstr>We read the data from MySQL into Knime, cleaned it, included the country codes, sourced R&amp;D data from APIs, and did visualizations</vt:lpstr>
      <vt:lpstr>Biggest challenge in cleaning was that the "female ratio" variable was given in 2 different formats: ratio (eg. 30:70) and float (eg. 3.71)</vt:lpstr>
      <vt:lpstr>xxx</vt:lpstr>
      <vt:lpstr>xxx</vt:lpstr>
      <vt:lpstr>Overview of key results</vt:lpstr>
      <vt:lpstr>xxx</vt:lpstr>
      <vt:lpstr>xxx</vt:lpstr>
      <vt:lpstr>xxx</vt:lpstr>
      <vt:lpstr>xxx</vt:lpstr>
      <vt:lpstr>xxx</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land Berger</dc:title>
  <dc:creator>M706254</dc:creator>
  <cp:keywords/>
  <cp:lastModifiedBy>Aftab Alam</cp:lastModifiedBy>
  <cp:revision>42</cp:revision>
  <cp:lastPrinted>2021-10-29T06:57:30Z</cp:lastPrinted>
  <dcterms:created xsi:type="dcterms:W3CDTF">2017-11-21T08:19:08Z</dcterms:created>
  <dcterms:modified xsi:type="dcterms:W3CDTF">2021-11-16T18: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595D4A3697C744B3D79E137345A564</vt:lpwstr>
  </property>
  <property fmtid="{D5CDD505-2E9C-101B-9397-08002B2CF9AE}" pid="3" name="CRB_Language">
    <vt:lpwstr>9;#English|d114bc82-0915-479b-a4ff-1cfc3f16eaa4</vt:lpwstr>
  </property>
  <property fmtid="{D5CDD505-2E9C-101B-9397-08002B2CF9AE}" pid="4" name="TaxKeyword">
    <vt:lpwstr>3862;#References|3e29119c-4f70-41ec-aa0f-81e7e31680d6;#5494;#Credentials|c659b8d9-07fe-442f-bc84-e2857fd0996c</vt:lpwstr>
  </property>
  <property fmtid="{D5CDD505-2E9C-101B-9397-08002B2CF9AE}" pid="5" name="CRB_Topic">
    <vt:lpwstr>3;#_not applicable|dd83ac5f-a996-44b7-af11-b9ca9321ac4e</vt:lpwstr>
  </property>
  <property fmtid="{D5CDD505-2E9C-101B-9397-08002B2CF9AE}" pid="6" name="CRB_Industry">
    <vt:lpwstr>5;#Capital goods|11b56517-6e56-4d9e-b3c6-5da2dbd7ef02</vt:lpwstr>
  </property>
  <property fmtid="{D5CDD505-2E9C-101B-9397-08002B2CF9AE}" pid="7" name="CRB_CountriesCovered">
    <vt:lpwstr/>
  </property>
  <property fmtid="{D5CDD505-2E9C-101B-9397-08002B2CF9AE}" pid="8" name="EPHT Industries">
    <vt:lpwstr>747;#Capital goods|651ac16a-1fc3-48b4-8e2b-10402ecd03e5</vt:lpwstr>
  </property>
  <property fmtid="{D5CDD505-2E9C-101B-9397-08002B2CF9AE}" pid="9" name="CRB_Publisher">
    <vt:lpwstr/>
  </property>
  <property fmtid="{D5CDD505-2E9C-101B-9397-08002B2CF9AE}" pid="10" name="CRB_PublisherTaxHTField0">
    <vt:lpwstr/>
  </property>
  <property fmtid="{D5CDD505-2E9C-101B-9397-08002B2CF9AE}" pid="11" name="_dlc_DocIdItemGuid">
    <vt:lpwstr>c1431e10-ca70-406e-9a9a-e0e53bcc2d6c</vt:lpwstr>
  </property>
</Properties>
</file>